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7FFFCC8D_BC75EA8E.xml" ContentType="application/vnd.ms-powerpoint.comment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6"/>
  </p:notesMasterIdLst>
  <p:sldIdLst>
    <p:sldId id="2147470419" r:id="rId5"/>
    <p:sldId id="2147470334" r:id="rId6"/>
    <p:sldId id="269" r:id="rId7"/>
    <p:sldId id="2147470477" r:id="rId8"/>
    <p:sldId id="2147470485" r:id="rId9"/>
    <p:sldId id="2147470479" r:id="rId10"/>
    <p:sldId id="2147470480" r:id="rId11"/>
    <p:sldId id="2147470481" r:id="rId12"/>
    <p:sldId id="2147470482" r:id="rId13"/>
    <p:sldId id="2147470483" r:id="rId14"/>
    <p:sldId id="2147470478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012F9A7-10C5-D959-DAA8-18DABF20A4D5}" name="Baum, Kristen (STL-MOM)" initials="B(" userId="S::kristen.baum@momentumww.com::ba9efd3d-359d-4012-9c68-3c0424873fac" providerId="AD"/>
  <p188:author id="{481FB2E4-F256-572D-F355-6FB916164B7B}" name="Sanderson, Steve (LDN-MOM)" initials="SS(M" userId="S::Steve.Sanderson@momentumww.com::12c209f0-51c8-4029-96aa-e53e1a9a901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F4E4E37-5A79-92F0-2CDF-CC1F8A94472E}" v="13" dt="2024-03-13T14:09:04.06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um, Kristen (STL-MOM)" userId="S::kristen.baum@momentumww.com::ba9efd3d-359d-4012-9c68-3c0424873fac" providerId="AD" clId="Web-{2226AB42-A54B-F335-7FAF-635D309538C9}"/>
    <pc:docChg chg="modSld">
      <pc:chgData name="Baum, Kristen (STL-MOM)" userId="S::kristen.baum@momentumww.com::ba9efd3d-359d-4012-9c68-3c0424873fac" providerId="AD" clId="Web-{2226AB42-A54B-F335-7FAF-635D309538C9}" dt="2024-02-07T16:24:19.462" v="431" actId="20577"/>
      <pc:docMkLst>
        <pc:docMk/>
      </pc:docMkLst>
      <pc:sldChg chg="modSp">
        <pc:chgData name="Baum, Kristen (STL-MOM)" userId="S::kristen.baum@momentumww.com::ba9efd3d-359d-4012-9c68-3c0424873fac" providerId="AD" clId="Web-{2226AB42-A54B-F335-7FAF-635D309538C9}" dt="2024-02-07T15:48:00.656" v="190" actId="20577"/>
        <pc:sldMkLst>
          <pc:docMk/>
          <pc:sldMk cId="4157377219" sldId="2147470479"/>
        </pc:sldMkLst>
        <pc:spChg chg="mod">
          <ac:chgData name="Baum, Kristen (STL-MOM)" userId="S::kristen.baum@momentumww.com::ba9efd3d-359d-4012-9c68-3c0424873fac" providerId="AD" clId="Web-{2226AB42-A54B-F335-7FAF-635D309538C9}" dt="2024-02-07T15:48:00.656" v="190" actId="20577"/>
          <ac:spMkLst>
            <pc:docMk/>
            <pc:sldMk cId="4157377219" sldId="2147470479"/>
            <ac:spMk id="5" creationId="{9B40792E-B0A6-8A0F-40BB-6E85E0B377D7}"/>
          </ac:spMkLst>
        </pc:spChg>
      </pc:sldChg>
      <pc:sldChg chg="modSp">
        <pc:chgData name="Baum, Kristen (STL-MOM)" userId="S::kristen.baum@momentumww.com::ba9efd3d-359d-4012-9c68-3c0424873fac" providerId="AD" clId="Web-{2226AB42-A54B-F335-7FAF-635D309538C9}" dt="2024-02-07T16:11:33.546" v="326" actId="20577"/>
        <pc:sldMkLst>
          <pc:docMk/>
          <pc:sldMk cId="3660013664" sldId="2147470481"/>
        </pc:sldMkLst>
        <pc:spChg chg="mod">
          <ac:chgData name="Baum, Kristen (STL-MOM)" userId="S::kristen.baum@momentumww.com::ba9efd3d-359d-4012-9c68-3c0424873fac" providerId="AD" clId="Web-{2226AB42-A54B-F335-7FAF-635D309538C9}" dt="2024-02-07T16:11:33.546" v="326" actId="20577"/>
          <ac:spMkLst>
            <pc:docMk/>
            <pc:sldMk cId="3660013664" sldId="2147470481"/>
            <ac:spMk id="3" creationId="{F11FCFB0-8DD9-49C6-B8C2-1E3C830F6593}"/>
          </ac:spMkLst>
        </pc:spChg>
      </pc:sldChg>
      <pc:sldChg chg="modSp">
        <pc:chgData name="Baum, Kristen (STL-MOM)" userId="S::kristen.baum@momentumww.com::ba9efd3d-359d-4012-9c68-3c0424873fac" providerId="AD" clId="Web-{2226AB42-A54B-F335-7FAF-635D309538C9}" dt="2024-02-07T16:24:19.462" v="431" actId="20577"/>
        <pc:sldMkLst>
          <pc:docMk/>
          <pc:sldMk cId="3191828313" sldId="2147470482"/>
        </pc:sldMkLst>
        <pc:spChg chg="mod">
          <ac:chgData name="Baum, Kristen (STL-MOM)" userId="S::kristen.baum@momentumww.com::ba9efd3d-359d-4012-9c68-3c0424873fac" providerId="AD" clId="Web-{2226AB42-A54B-F335-7FAF-635D309538C9}" dt="2024-02-07T16:24:19.462" v="431" actId="20577"/>
          <ac:spMkLst>
            <pc:docMk/>
            <pc:sldMk cId="3191828313" sldId="2147470482"/>
            <ac:spMk id="3" creationId="{350FE4CB-B41D-3348-7A87-A0C80F2D5B83}"/>
          </ac:spMkLst>
        </pc:spChg>
      </pc:sldChg>
    </pc:docChg>
  </pc:docChgLst>
  <pc:docChgLst>
    <pc:chgData name="Baum, Kristen (STL-MOM)" userId="S::kristen.baum@momentumww.com::ba9efd3d-359d-4012-9c68-3c0424873fac" providerId="AD" clId="Web-{8EB13CAC-904E-C90F-AB4D-C5940D339812}"/>
    <pc:docChg chg="delSld modSld">
      <pc:chgData name="Baum, Kristen (STL-MOM)" userId="S::kristen.baum@momentumww.com::ba9efd3d-359d-4012-9c68-3c0424873fac" providerId="AD" clId="Web-{8EB13CAC-904E-C90F-AB4D-C5940D339812}" dt="2024-02-13T22:51:53.383" v="23" actId="20577"/>
      <pc:docMkLst>
        <pc:docMk/>
      </pc:docMkLst>
      <pc:sldChg chg="del">
        <pc:chgData name="Baum, Kristen (STL-MOM)" userId="S::kristen.baum@momentumww.com::ba9efd3d-359d-4012-9c68-3c0424873fac" providerId="AD" clId="Web-{8EB13CAC-904E-C90F-AB4D-C5940D339812}" dt="2024-02-13T22:50:45.412" v="1"/>
        <pc:sldMkLst>
          <pc:docMk/>
          <pc:sldMk cId="3770969840" sldId="257"/>
        </pc:sldMkLst>
      </pc:sldChg>
      <pc:sldChg chg="del">
        <pc:chgData name="Baum, Kristen (STL-MOM)" userId="S::kristen.baum@momentumww.com::ba9efd3d-359d-4012-9c68-3c0424873fac" providerId="AD" clId="Web-{8EB13CAC-904E-C90F-AB4D-C5940D339812}" dt="2024-02-13T22:50:45.396" v="0"/>
        <pc:sldMkLst>
          <pc:docMk/>
          <pc:sldMk cId="3506132527" sldId="2147470412"/>
        </pc:sldMkLst>
      </pc:sldChg>
      <pc:sldChg chg="del">
        <pc:chgData name="Baum, Kristen (STL-MOM)" userId="S::kristen.baum@momentumww.com::ba9efd3d-359d-4012-9c68-3c0424873fac" providerId="AD" clId="Web-{8EB13CAC-904E-C90F-AB4D-C5940D339812}" dt="2024-02-13T22:50:45.412" v="2"/>
        <pc:sldMkLst>
          <pc:docMk/>
          <pc:sldMk cId="2140106608" sldId="2147470420"/>
        </pc:sldMkLst>
      </pc:sldChg>
      <pc:sldChg chg="modSp">
        <pc:chgData name="Baum, Kristen (STL-MOM)" userId="S::kristen.baum@momentumww.com::ba9efd3d-359d-4012-9c68-3c0424873fac" providerId="AD" clId="Web-{8EB13CAC-904E-C90F-AB4D-C5940D339812}" dt="2024-02-13T22:51:17.803" v="15" actId="20577"/>
        <pc:sldMkLst>
          <pc:docMk/>
          <pc:sldMk cId="4157377219" sldId="2147470479"/>
        </pc:sldMkLst>
        <pc:spChg chg="mod">
          <ac:chgData name="Baum, Kristen (STL-MOM)" userId="S::kristen.baum@momentumww.com::ba9efd3d-359d-4012-9c68-3c0424873fac" providerId="AD" clId="Web-{8EB13CAC-904E-C90F-AB4D-C5940D339812}" dt="2024-02-13T22:51:01.131" v="8" actId="20577"/>
          <ac:spMkLst>
            <pc:docMk/>
            <pc:sldMk cId="4157377219" sldId="2147470479"/>
            <ac:spMk id="2" creationId="{40D6B808-3ABD-39FE-498C-4B32E382A995}"/>
          </ac:spMkLst>
        </pc:spChg>
        <pc:spChg chg="mod">
          <ac:chgData name="Baum, Kristen (STL-MOM)" userId="S::kristen.baum@momentumww.com::ba9efd3d-359d-4012-9c68-3c0424873fac" providerId="AD" clId="Web-{8EB13CAC-904E-C90F-AB4D-C5940D339812}" dt="2024-02-13T22:51:17.803" v="15" actId="20577"/>
          <ac:spMkLst>
            <pc:docMk/>
            <pc:sldMk cId="4157377219" sldId="2147470479"/>
            <ac:spMk id="5" creationId="{9B40792E-B0A6-8A0F-40BB-6E85E0B377D7}"/>
          </ac:spMkLst>
        </pc:spChg>
      </pc:sldChg>
      <pc:sldChg chg="modSp">
        <pc:chgData name="Baum, Kristen (STL-MOM)" userId="S::kristen.baum@momentumww.com::ba9efd3d-359d-4012-9c68-3c0424873fac" providerId="AD" clId="Web-{8EB13CAC-904E-C90F-AB4D-C5940D339812}" dt="2024-02-13T22:51:39.742" v="20" actId="20577"/>
        <pc:sldMkLst>
          <pc:docMk/>
          <pc:sldMk cId="3660013664" sldId="2147470481"/>
        </pc:sldMkLst>
        <pc:spChg chg="mod">
          <ac:chgData name="Baum, Kristen (STL-MOM)" userId="S::kristen.baum@momentumww.com::ba9efd3d-359d-4012-9c68-3c0424873fac" providerId="AD" clId="Web-{8EB13CAC-904E-C90F-AB4D-C5940D339812}" dt="2024-02-13T22:51:39.742" v="20" actId="20577"/>
          <ac:spMkLst>
            <pc:docMk/>
            <pc:sldMk cId="3660013664" sldId="2147470481"/>
            <ac:spMk id="3" creationId="{F11FCFB0-8DD9-49C6-B8C2-1E3C830F6593}"/>
          </ac:spMkLst>
        </pc:spChg>
      </pc:sldChg>
      <pc:sldChg chg="modSp">
        <pc:chgData name="Baum, Kristen (STL-MOM)" userId="S::kristen.baum@momentumww.com::ba9efd3d-359d-4012-9c68-3c0424873fac" providerId="AD" clId="Web-{8EB13CAC-904E-C90F-AB4D-C5940D339812}" dt="2024-02-13T22:51:53.383" v="23" actId="20577"/>
        <pc:sldMkLst>
          <pc:docMk/>
          <pc:sldMk cId="3191828313" sldId="2147470482"/>
        </pc:sldMkLst>
        <pc:spChg chg="mod">
          <ac:chgData name="Baum, Kristen (STL-MOM)" userId="S::kristen.baum@momentumww.com::ba9efd3d-359d-4012-9c68-3c0424873fac" providerId="AD" clId="Web-{8EB13CAC-904E-C90F-AB4D-C5940D339812}" dt="2024-02-13T22:51:53.383" v="23" actId="20577"/>
          <ac:spMkLst>
            <pc:docMk/>
            <pc:sldMk cId="3191828313" sldId="2147470482"/>
            <ac:spMk id="3" creationId="{350FE4CB-B41D-3348-7A87-A0C80F2D5B83}"/>
          </ac:spMkLst>
        </pc:spChg>
      </pc:sldChg>
      <pc:sldChg chg="modSp">
        <pc:chgData name="Baum, Kristen (STL-MOM)" userId="S::kristen.baum@momentumww.com::ba9efd3d-359d-4012-9c68-3c0424873fac" providerId="AD" clId="Web-{8EB13CAC-904E-C90F-AB4D-C5940D339812}" dt="2024-02-13T22:50:54.568" v="5" actId="20577"/>
        <pc:sldMkLst>
          <pc:docMk/>
          <pc:sldMk cId="1718769547" sldId="2147470485"/>
        </pc:sldMkLst>
        <pc:spChg chg="mod">
          <ac:chgData name="Baum, Kristen (STL-MOM)" userId="S::kristen.baum@momentumww.com::ba9efd3d-359d-4012-9c68-3c0424873fac" providerId="AD" clId="Web-{8EB13CAC-904E-C90F-AB4D-C5940D339812}" dt="2024-02-13T22:50:54.568" v="5" actId="20577"/>
          <ac:spMkLst>
            <pc:docMk/>
            <pc:sldMk cId="1718769547" sldId="2147470485"/>
            <ac:spMk id="6" creationId="{9557EEF6-07E1-F7EA-3779-6A6EDEECCBFA}"/>
          </ac:spMkLst>
        </pc:spChg>
      </pc:sldChg>
    </pc:docChg>
  </pc:docChgLst>
  <pc:docChgLst>
    <pc:chgData name="Baum, Kristen (STL-MOM)" userId="S::kristen.baum@momentumww.com::ba9efd3d-359d-4012-9c68-3c0424873fac" providerId="AD" clId="Web-{BF4E4E37-5A79-92F0-2CDF-CC1F8A94472E}"/>
    <pc:docChg chg="modSld">
      <pc:chgData name="Baum, Kristen (STL-MOM)" userId="S::kristen.baum@momentumww.com::ba9efd3d-359d-4012-9c68-3c0424873fac" providerId="AD" clId="Web-{BF4E4E37-5A79-92F0-2CDF-CC1F8A94472E}" dt="2024-03-13T14:09:01.474" v="10" actId="20577"/>
      <pc:docMkLst>
        <pc:docMk/>
      </pc:docMkLst>
      <pc:sldChg chg="modSp">
        <pc:chgData name="Baum, Kristen (STL-MOM)" userId="S::kristen.baum@momentumww.com::ba9efd3d-359d-4012-9c68-3c0424873fac" providerId="AD" clId="Web-{BF4E4E37-5A79-92F0-2CDF-CC1F8A94472E}" dt="2024-03-13T14:09:01.474" v="10" actId="20577"/>
        <pc:sldMkLst>
          <pc:docMk/>
          <pc:sldMk cId="886092775" sldId="2147470419"/>
        </pc:sldMkLst>
        <pc:spChg chg="mod">
          <ac:chgData name="Baum, Kristen (STL-MOM)" userId="S::kristen.baum@momentumww.com::ba9efd3d-359d-4012-9c68-3c0424873fac" providerId="AD" clId="Web-{BF4E4E37-5A79-92F0-2CDF-CC1F8A94472E}" dt="2024-03-13T14:09:01.474" v="10" actId="20577"/>
          <ac:spMkLst>
            <pc:docMk/>
            <pc:sldMk cId="886092775" sldId="2147470419"/>
            <ac:spMk id="6" creationId="{EE31DF6F-F7A3-E694-F738-AC107D3A628E}"/>
          </ac:spMkLst>
        </pc:spChg>
      </pc:sldChg>
      <pc:sldChg chg="modSp">
        <pc:chgData name="Baum, Kristen (STL-MOM)" userId="S::kristen.baum@momentumww.com::ba9efd3d-359d-4012-9c68-3c0424873fac" providerId="AD" clId="Web-{BF4E4E37-5A79-92F0-2CDF-CC1F8A94472E}" dt="2024-03-13T14:08:46.786" v="7" actId="20577"/>
        <pc:sldMkLst>
          <pc:docMk/>
          <pc:sldMk cId="3161844366" sldId="2147470477"/>
        </pc:sldMkLst>
        <pc:spChg chg="mod">
          <ac:chgData name="Baum, Kristen (STL-MOM)" userId="S::kristen.baum@momentumww.com::ba9efd3d-359d-4012-9c68-3c0424873fac" providerId="AD" clId="Web-{BF4E4E37-5A79-92F0-2CDF-CC1F8A94472E}" dt="2024-03-13T14:08:46.786" v="7" actId="20577"/>
          <ac:spMkLst>
            <pc:docMk/>
            <pc:sldMk cId="3161844366" sldId="2147470477"/>
            <ac:spMk id="2" creationId="{C5B573FE-7E1F-9C32-FF7F-AE5D129FF9B6}"/>
          </ac:spMkLst>
        </pc:spChg>
      </pc:sldChg>
    </pc:docChg>
  </pc:docChgLst>
  <pc:docChgLst>
    <pc:chgData name="Baum, Kristen (STL-MOM)" userId="S::kristen.baum@momentumww.com::ba9efd3d-359d-4012-9c68-3c0424873fac" providerId="AD" clId="Web-{43F2B9FD-7B9C-C0A5-8202-420C17832705}"/>
    <pc:docChg chg="modSld">
      <pc:chgData name="Baum, Kristen (STL-MOM)" userId="S::kristen.baum@momentumww.com::ba9efd3d-359d-4012-9c68-3c0424873fac" providerId="AD" clId="Web-{43F2B9FD-7B9C-C0A5-8202-420C17832705}" dt="2024-03-05T22:25:16.546" v="0" actId="20577"/>
      <pc:docMkLst>
        <pc:docMk/>
      </pc:docMkLst>
      <pc:sldChg chg="modSp">
        <pc:chgData name="Baum, Kristen (STL-MOM)" userId="S::kristen.baum@momentumww.com::ba9efd3d-359d-4012-9c68-3c0424873fac" providerId="AD" clId="Web-{43F2B9FD-7B9C-C0A5-8202-420C17832705}" dt="2024-03-05T22:25:16.546" v="0" actId="20577"/>
        <pc:sldMkLst>
          <pc:docMk/>
          <pc:sldMk cId="4157377219" sldId="2147470479"/>
        </pc:sldMkLst>
        <pc:spChg chg="mod">
          <ac:chgData name="Baum, Kristen (STL-MOM)" userId="S::kristen.baum@momentumww.com::ba9efd3d-359d-4012-9c68-3c0424873fac" providerId="AD" clId="Web-{43F2B9FD-7B9C-C0A5-8202-420C17832705}" dt="2024-03-05T22:25:16.546" v="0" actId="20577"/>
          <ac:spMkLst>
            <pc:docMk/>
            <pc:sldMk cId="4157377219" sldId="2147470479"/>
            <ac:spMk id="2" creationId="{40D6B808-3ABD-39FE-498C-4B32E382A995}"/>
          </ac:spMkLst>
        </pc:spChg>
      </pc:sldChg>
    </pc:docChg>
  </pc:docChgLst>
  <pc:docChgLst>
    <pc:chgData name="Baum, Kristen (STL-MOM)" userId="S::kristen.baum@momentumww.com::ba9efd3d-359d-4012-9c68-3c0424873fac" providerId="AD" clId="Web-{0E92672C-39C7-EB31-74BE-141DA725B35C}"/>
    <pc:docChg chg="modSld">
      <pc:chgData name="Baum, Kristen (STL-MOM)" userId="S::kristen.baum@momentumww.com::ba9efd3d-359d-4012-9c68-3c0424873fac" providerId="AD" clId="Web-{0E92672C-39C7-EB31-74BE-141DA725B35C}" dt="2024-03-06T15:11:10.388" v="43" actId="14100"/>
      <pc:docMkLst>
        <pc:docMk/>
      </pc:docMkLst>
      <pc:sldChg chg="modSp">
        <pc:chgData name="Baum, Kristen (STL-MOM)" userId="S::kristen.baum@momentumww.com::ba9efd3d-359d-4012-9c68-3c0424873fac" providerId="AD" clId="Web-{0E92672C-39C7-EB31-74BE-141DA725B35C}" dt="2024-03-06T15:11:10.388" v="43" actId="14100"/>
        <pc:sldMkLst>
          <pc:docMk/>
          <pc:sldMk cId="4157377219" sldId="2147470479"/>
        </pc:sldMkLst>
        <pc:spChg chg="mod">
          <ac:chgData name="Baum, Kristen (STL-MOM)" userId="S::kristen.baum@momentumww.com::ba9efd3d-359d-4012-9c68-3c0424873fac" providerId="AD" clId="Web-{0E92672C-39C7-EB31-74BE-141DA725B35C}" dt="2024-03-06T15:11:10.388" v="43" actId="14100"/>
          <ac:spMkLst>
            <pc:docMk/>
            <pc:sldMk cId="4157377219" sldId="2147470479"/>
            <ac:spMk id="5" creationId="{9B40792E-B0A6-8A0F-40BB-6E85E0B377D7}"/>
          </ac:spMkLst>
        </pc:spChg>
      </pc:sldChg>
    </pc:docChg>
  </pc:docChgLst>
  <pc:docChgLst>
    <pc:chgData name="Baum, Kristen (STL-MOM)" userId="S::kristen.baum@momentumww.com::ba9efd3d-359d-4012-9c68-3c0424873fac" providerId="AD" clId="Web-{155BA4BC-5C19-65E5-E13D-4B913A5303FD}"/>
    <pc:docChg chg="addSld delSld modSld sldOrd addMainMaster modMainMaster">
      <pc:chgData name="Baum, Kristen (STL-MOM)" userId="S::kristen.baum@momentumww.com::ba9efd3d-359d-4012-9c68-3c0424873fac" providerId="AD" clId="Web-{155BA4BC-5C19-65E5-E13D-4B913A5303FD}" dt="2024-02-05T22:02:56.418" v="411" actId="20577"/>
      <pc:docMkLst>
        <pc:docMk/>
      </pc:docMkLst>
      <pc:sldChg chg="add del">
        <pc:chgData name="Baum, Kristen (STL-MOM)" userId="S::kristen.baum@momentumww.com::ba9efd3d-359d-4012-9c68-3c0424873fac" providerId="AD" clId="Web-{155BA4BC-5C19-65E5-E13D-4B913A5303FD}" dt="2024-02-05T21:41:24.800" v="16"/>
        <pc:sldMkLst>
          <pc:docMk/>
          <pc:sldMk cId="109857222" sldId="256"/>
        </pc:sldMkLst>
      </pc:sldChg>
      <pc:sldChg chg="add del">
        <pc:chgData name="Baum, Kristen (STL-MOM)" userId="S::kristen.baum@momentumww.com::ba9efd3d-359d-4012-9c68-3c0424873fac" providerId="AD" clId="Web-{155BA4BC-5C19-65E5-E13D-4B913A5303FD}" dt="2024-02-05T21:43:12.398" v="29"/>
        <pc:sldMkLst>
          <pc:docMk/>
          <pc:sldMk cId="3770969840" sldId="257"/>
        </pc:sldMkLst>
      </pc:sldChg>
      <pc:sldChg chg="add del">
        <pc:chgData name="Baum, Kristen (STL-MOM)" userId="S::kristen.baum@momentumww.com::ba9efd3d-359d-4012-9c68-3c0424873fac" providerId="AD" clId="Web-{155BA4BC-5C19-65E5-E13D-4B913A5303FD}" dt="2024-02-05T21:41:24.800" v="15"/>
        <pc:sldMkLst>
          <pc:docMk/>
          <pc:sldMk cId="4005782735" sldId="260"/>
        </pc:sldMkLst>
      </pc:sldChg>
      <pc:sldChg chg="add ord">
        <pc:chgData name="Baum, Kristen (STL-MOM)" userId="S::kristen.baum@momentumww.com::ba9efd3d-359d-4012-9c68-3c0424873fac" providerId="AD" clId="Web-{155BA4BC-5C19-65E5-E13D-4B913A5303FD}" dt="2024-02-05T21:45:18.935" v="37"/>
        <pc:sldMkLst>
          <pc:docMk/>
          <pc:sldMk cId="4225675731" sldId="269"/>
        </pc:sldMkLst>
      </pc:sldChg>
      <pc:sldChg chg="add">
        <pc:chgData name="Baum, Kristen (STL-MOM)" userId="S::kristen.baum@momentumww.com::ba9efd3d-359d-4012-9c68-3c0424873fac" providerId="AD" clId="Web-{155BA4BC-5C19-65E5-E13D-4B913A5303FD}" dt="2024-02-05T21:45:00.981" v="35"/>
        <pc:sldMkLst>
          <pc:docMk/>
          <pc:sldMk cId="6061146" sldId="2147470334"/>
        </pc:sldMkLst>
      </pc:sldChg>
      <pc:sldChg chg="add del">
        <pc:chgData name="Baum, Kristen (STL-MOM)" userId="S::kristen.baum@momentumww.com::ba9efd3d-359d-4012-9c68-3c0424873fac" providerId="AD" clId="Web-{155BA4BC-5C19-65E5-E13D-4B913A5303FD}" dt="2024-02-05T21:43:27.321" v="30"/>
        <pc:sldMkLst>
          <pc:docMk/>
          <pc:sldMk cId="3506132527" sldId="2147470412"/>
        </pc:sldMkLst>
      </pc:sldChg>
      <pc:sldChg chg="add del">
        <pc:chgData name="Baum, Kristen (STL-MOM)" userId="S::kristen.baum@momentumww.com::ba9efd3d-359d-4012-9c68-3c0424873fac" providerId="AD" clId="Web-{155BA4BC-5C19-65E5-E13D-4B913A5303FD}" dt="2024-02-05T21:42:58.101" v="28"/>
        <pc:sldMkLst>
          <pc:docMk/>
          <pc:sldMk cId="2419184446" sldId="2147470418"/>
        </pc:sldMkLst>
      </pc:sldChg>
      <pc:sldChg chg="modSp add">
        <pc:chgData name="Baum, Kristen (STL-MOM)" userId="S::kristen.baum@momentumww.com::ba9efd3d-359d-4012-9c68-3c0424873fac" providerId="AD" clId="Web-{155BA4BC-5C19-65E5-E13D-4B913A5303FD}" dt="2024-02-05T21:43:44.259" v="34" actId="20577"/>
        <pc:sldMkLst>
          <pc:docMk/>
          <pc:sldMk cId="886092775" sldId="2147470419"/>
        </pc:sldMkLst>
        <pc:spChg chg="mod">
          <ac:chgData name="Baum, Kristen (STL-MOM)" userId="S::kristen.baum@momentumww.com::ba9efd3d-359d-4012-9c68-3c0424873fac" providerId="AD" clId="Web-{155BA4BC-5C19-65E5-E13D-4B913A5303FD}" dt="2024-02-05T21:43:44.259" v="34" actId="20577"/>
          <ac:spMkLst>
            <pc:docMk/>
            <pc:sldMk cId="886092775" sldId="2147470419"/>
            <ac:spMk id="6" creationId="{EE31DF6F-F7A3-E694-F738-AC107D3A628E}"/>
          </ac:spMkLst>
        </pc:spChg>
      </pc:sldChg>
      <pc:sldChg chg="add del">
        <pc:chgData name="Baum, Kristen (STL-MOM)" userId="S::kristen.baum@momentumww.com::ba9efd3d-359d-4012-9c68-3c0424873fac" providerId="AD" clId="Web-{155BA4BC-5C19-65E5-E13D-4B913A5303FD}" dt="2024-02-05T21:40:50.048" v="5"/>
        <pc:sldMkLst>
          <pc:docMk/>
          <pc:sldMk cId="1275198175" sldId="2147470419"/>
        </pc:sldMkLst>
      </pc:sldChg>
      <pc:sldChg chg="add del">
        <pc:chgData name="Baum, Kristen (STL-MOM)" userId="S::kristen.baum@momentumww.com::ba9efd3d-359d-4012-9c68-3c0424873fac" providerId="AD" clId="Web-{155BA4BC-5C19-65E5-E13D-4B913A5303FD}" dt="2024-02-05T21:41:37.910" v="18"/>
        <pc:sldMkLst>
          <pc:docMk/>
          <pc:sldMk cId="497819596" sldId="2147470420"/>
        </pc:sldMkLst>
      </pc:sldChg>
      <pc:sldChg chg="add del">
        <pc:chgData name="Baum, Kristen (STL-MOM)" userId="S::kristen.baum@momentumww.com::ba9efd3d-359d-4012-9c68-3c0424873fac" providerId="AD" clId="Web-{155BA4BC-5C19-65E5-E13D-4B913A5303FD}" dt="2024-02-05T21:41:24.800" v="14"/>
        <pc:sldMkLst>
          <pc:docMk/>
          <pc:sldMk cId="1315502431" sldId="2147470420"/>
        </pc:sldMkLst>
      </pc:sldChg>
      <pc:sldChg chg="add">
        <pc:chgData name="Baum, Kristen (STL-MOM)" userId="S::kristen.baum@momentumww.com::ba9efd3d-359d-4012-9c68-3c0424873fac" providerId="AD" clId="Web-{155BA4BC-5C19-65E5-E13D-4B913A5303FD}" dt="2024-02-05T21:41:38.050" v="19"/>
        <pc:sldMkLst>
          <pc:docMk/>
          <pc:sldMk cId="2140106608" sldId="2147470420"/>
        </pc:sldMkLst>
      </pc:sldChg>
      <pc:sldChg chg="add del">
        <pc:chgData name="Baum, Kristen (STL-MOM)" userId="S::kristen.baum@momentumww.com::ba9efd3d-359d-4012-9c68-3c0424873fac" providerId="AD" clId="Web-{155BA4BC-5C19-65E5-E13D-4B913A5303FD}" dt="2024-02-05T21:41:16.034" v="12"/>
        <pc:sldMkLst>
          <pc:docMk/>
          <pc:sldMk cId="3458616863" sldId="2147470420"/>
        </pc:sldMkLst>
      </pc:sldChg>
      <pc:sldChg chg="new del">
        <pc:chgData name="Baum, Kristen (STL-MOM)" userId="S::kristen.baum@momentumww.com::ba9efd3d-359d-4012-9c68-3c0424873fac" providerId="AD" clId="Web-{155BA4BC-5C19-65E5-E13D-4B913A5303FD}" dt="2024-02-05T21:45:59.405" v="40"/>
        <pc:sldMkLst>
          <pc:docMk/>
          <pc:sldMk cId="1910617311" sldId="2147470421"/>
        </pc:sldMkLst>
      </pc:sldChg>
      <pc:sldChg chg="addSp modSp add">
        <pc:chgData name="Baum, Kristen (STL-MOM)" userId="S::kristen.baum@momentumww.com::ba9efd3d-359d-4012-9c68-3c0424873fac" providerId="AD" clId="Web-{155BA4BC-5C19-65E5-E13D-4B913A5303FD}" dt="2024-02-05T22:02:45.152" v="410" actId="1076"/>
        <pc:sldMkLst>
          <pc:docMk/>
          <pc:sldMk cId="3161844366" sldId="2147470477"/>
        </pc:sldMkLst>
        <pc:spChg chg="add mod">
          <ac:chgData name="Baum, Kristen (STL-MOM)" userId="S::kristen.baum@momentumww.com::ba9efd3d-359d-4012-9c68-3c0424873fac" providerId="AD" clId="Web-{155BA4BC-5C19-65E5-E13D-4B913A5303FD}" dt="2024-02-05T22:00:19.771" v="375" actId="1076"/>
          <ac:spMkLst>
            <pc:docMk/>
            <pc:sldMk cId="3161844366" sldId="2147470477"/>
            <ac:spMk id="113" creationId="{D21688F6-4CD1-7786-2A84-25E9C6026327}"/>
          </ac:spMkLst>
        </pc:spChg>
        <pc:spChg chg="add mod">
          <ac:chgData name="Baum, Kristen (STL-MOM)" userId="S::kristen.baum@momentumww.com::ba9efd3d-359d-4012-9c68-3c0424873fac" providerId="AD" clId="Web-{155BA4BC-5C19-65E5-E13D-4B913A5303FD}" dt="2024-02-05T22:00:23.521" v="376" actId="1076"/>
          <ac:spMkLst>
            <pc:docMk/>
            <pc:sldMk cId="3161844366" sldId="2147470477"/>
            <ac:spMk id="114" creationId="{3D4D19C8-2560-4112-B1DD-50D598691A69}"/>
          </ac:spMkLst>
        </pc:spChg>
        <pc:spChg chg="add mod">
          <ac:chgData name="Baum, Kristen (STL-MOM)" userId="S::kristen.baum@momentumww.com::ba9efd3d-359d-4012-9c68-3c0424873fac" providerId="AD" clId="Web-{155BA4BC-5C19-65E5-E13D-4B913A5303FD}" dt="2024-02-05T22:02:26.870" v="406" actId="14100"/>
          <ac:spMkLst>
            <pc:docMk/>
            <pc:sldMk cId="3161844366" sldId="2147470477"/>
            <ac:spMk id="115" creationId="{2E4A140A-83E0-29F2-B07C-27B1E7F1CDFE}"/>
          </ac:spMkLst>
        </pc:spChg>
        <pc:spChg chg="add mod">
          <ac:chgData name="Baum, Kristen (STL-MOM)" userId="S::kristen.baum@momentumww.com::ba9efd3d-359d-4012-9c68-3c0424873fac" providerId="AD" clId="Web-{155BA4BC-5C19-65E5-E13D-4B913A5303FD}" dt="2024-02-05T22:02:39.699" v="408" actId="1076"/>
          <ac:spMkLst>
            <pc:docMk/>
            <pc:sldMk cId="3161844366" sldId="2147470477"/>
            <ac:spMk id="116" creationId="{FF3810C1-CCD6-4D91-658A-4EC09C4468B3}"/>
          </ac:spMkLst>
        </pc:spChg>
        <pc:spChg chg="add mod">
          <ac:chgData name="Baum, Kristen (STL-MOM)" userId="S::kristen.baum@momentumww.com::ba9efd3d-359d-4012-9c68-3c0424873fac" providerId="AD" clId="Web-{155BA4BC-5C19-65E5-E13D-4B913A5303FD}" dt="2024-02-05T22:02:45.152" v="410" actId="1076"/>
          <ac:spMkLst>
            <pc:docMk/>
            <pc:sldMk cId="3161844366" sldId="2147470477"/>
            <ac:spMk id="117" creationId="{E88DD43C-6B97-A9DE-AE9C-C4E56F1A7D7E}"/>
          </ac:spMkLst>
        </pc:spChg>
        <pc:graphicFrameChg chg="modGraphic">
          <ac:chgData name="Baum, Kristen (STL-MOM)" userId="S::kristen.baum@momentumww.com::ba9efd3d-359d-4012-9c68-3c0424873fac" providerId="AD" clId="Web-{155BA4BC-5C19-65E5-E13D-4B913A5303FD}" dt="2024-02-05T21:47:20.799" v="45" actId="20577"/>
          <ac:graphicFrameMkLst>
            <pc:docMk/>
            <pc:sldMk cId="3161844366" sldId="2147470477"/>
            <ac:graphicFrameMk id="5" creationId="{DEC304C8-54CB-C96D-0602-46541641EA11}"/>
          </ac:graphicFrameMkLst>
        </pc:graphicFrameChg>
      </pc:sldChg>
      <pc:sldChg chg="add">
        <pc:chgData name="Baum, Kristen (STL-MOM)" userId="S::kristen.baum@momentumww.com::ba9efd3d-359d-4012-9c68-3c0424873fac" providerId="AD" clId="Web-{155BA4BC-5C19-65E5-E13D-4B913A5303FD}" dt="2024-02-05T21:46:11.937" v="41"/>
        <pc:sldMkLst>
          <pc:docMk/>
          <pc:sldMk cId="3889703437" sldId="2147470478"/>
        </pc:sldMkLst>
      </pc:sldChg>
      <pc:sldChg chg="addSp modSp new">
        <pc:chgData name="Baum, Kristen (STL-MOM)" userId="S::kristen.baum@momentumww.com::ba9efd3d-359d-4012-9c68-3c0424873fac" providerId="AD" clId="Web-{155BA4BC-5C19-65E5-E13D-4B913A5303FD}" dt="2024-02-05T21:56:12.510" v="239" actId="20577"/>
        <pc:sldMkLst>
          <pc:docMk/>
          <pc:sldMk cId="4157377219" sldId="2147470479"/>
        </pc:sldMkLst>
        <pc:spChg chg="mod">
          <ac:chgData name="Baum, Kristen (STL-MOM)" userId="S::kristen.baum@momentumww.com::ba9efd3d-359d-4012-9c68-3c0424873fac" providerId="AD" clId="Web-{155BA4BC-5C19-65E5-E13D-4B913A5303FD}" dt="2024-02-05T21:56:12.510" v="239" actId="20577"/>
          <ac:spMkLst>
            <pc:docMk/>
            <pc:sldMk cId="4157377219" sldId="2147470479"/>
            <ac:spMk id="2" creationId="{40D6B808-3ABD-39FE-498C-4B32E382A995}"/>
          </ac:spMkLst>
        </pc:spChg>
        <pc:spChg chg="mod">
          <ac:chgData name="Baum, Kristen (STL-MOM)" userId="S::kristen.baum@momentumww.com::ba9efd3d-359d-4012-9c68-3c0424873fac" providerId="AD" clId="Web-{155BA4BC-5C19-65E5-E13D-4B913A5303FD}" dt="2024-02-05T21:49:43.462" v="58" actId="20577"/>
          <ac:spMkLst>
            <pc:docMk/>
            <pc:sldMk cId="4157377219" sldId="2147470479"/>
            <ac:spMk id="3" creationId="{2752CDA9-EB20-9A27-DBC2-EDA88E233FA8}"/>
          </ac:spMkLst>
        </pc:spChg>
        <pc:spChg chg="add mod">
          <ac:chgData name="Baum, Kristen (STL-MOM)" userId="S::kristen.baum@momentumww.com::ba9efd3d-359d-4012-9c68-3c0424873fac" providerId="AD" clId="Web-{155BA4BC-5C19-65E5-E13D-4B913A5303FD}" dt="2024-02-05T21:54:17.099" v="176" actId="20577"/>
          <ac:spMkLst>
            <pc:docMk/>
            <pc:sldMk cId="4157377219" sldId="2147470479"/>
            <ac:spMk id="5" creationId="{9B40792E-B0A6-8A0F-40BB-6E85E0B377D7}"/>
          </ac:spMkLst>
        </pc:spChg>
      </pc:sldChg>
      <pc:sldChg chg="modSp new">
        <pc:chgData name="Baum, Kristen (STL-MOM)" userId="S::kristen.baum@momentumww.com::ba9efd3d-359d-4012-9c68-3c0424873fac" providerId="AD" clId="Web-{155BA4BC-5C19-65E5-E13D-4B913A5303FD}" dt="2024-02-05T21:55:31.086" v="213" actId="20577"/>
        <pc:sldMkLst>
          <pc:docMk/>
          <pc:sldMk cId="1661168727" sldId="2147470480"/>
        </pc:sldMkLst>
        <pc:spChg chg="mod">
          <ac:chgData name="Baum, Kristen (STL-MOM)" userId="S::kristen.baum@momentumww.com::ba9efd3d-359d-4012-9c68-3c0424873fac" providerId="AD" clId="Web-{155BA4BC-5C19-65E5-E13D-4B913A5303FD}" dt="2024-02-05T21:55:31.086" v="213" actId="20577"/>
          <ac:spMkLst>
            <pc:docMk/>
            <pc:sldMk cId="1661168727" sldId="2147470480"/>
            <ac:spMk id="2" creationId="{ECB09DAD-4522-F0AD-07C4-7438DD02D9AA}"/>
          </ac:spMkLst>
        </pc:spChg>
        <pc:spChg chg="mod">
          <ac:chgData name="Baum, Kristen (STL-MOM)" userId="S::kristen.baum@momentumww.com::ba9efd3d-359d-4012-9c68-3c0424873fac" providerId="AD" clId="Web-{155BA4BC-5C19-65E5-E13D-4B913A5303FD}" dt="2024-02-05T21:55:24.461" v="212" actId="20577"/>
          <ac:spMkLst>
            <pc:docMk/>
            <pc:sldMk cId="1661168727" sldId="2147470480"/>
            <ac:spMk id="3" creationId="{568D4893-1AA3-FCE5-B450-8543EA82B697}"/>
          </ac:spMkLst>
        </pc:spChg>
      </pc:sldChg>
      <pc:sldChg chg="modSp new">
        <pc:chgData name="Baum, Kristen (STL-MOM)" userId="S::kristen.baum@momentumww.com::ba9efd3d-359d-4012-9c68-3c0424873fac" providerId="AD" clId="Web-{155BA4BC-5C19-65E5-E13D-4B913A5303FD}" dt="2024-02-05T21:56:02.010" v="238" actId="20577"/>
        <pc:sldMkLst>
          <pc:docMk/>
          <pc:sldMk cId="3660013664" sldId="2147470481"/>
        </pc:sldMkLst>
        <pc:spChg chg="mod">
          <ac:chgData name="Baum, Kristen (STL-MOM)" userId="S::kristen.baum@momentumww.com::ba9efd3d-359d-4012-9c68-3c0424873fac" providerId="AD" clId="Web-{155BA4BC-5C19-65E5-E13D-4B913A5303FD}" dt="2024-02-05T21:56:02.010" v="238" actId="20577"/>
          <ac:spMkLst>
            <pc:docMk/>
            <pc:sldMk cId="3660013664" sldId="2147470481"/>
            <ac:spMk id="2" creationId="{A483EEF0-6C58-D3CF-7002-26ED03033D5E}"/>
          </ac:spMkLst>
        </pc:spChg>
        <pc:spChg chg="mod">
          <ac:chgData name="Baum, Kristen (STL-MOM)" userId="S::kristen.baum@momentumww.com::ba9efd3d-359d-4012-9c68-3c0424873fac" providerId="AD" clId="Web-{155BA4BC-5C19-65E5-E13D-4B913A5303FD}" dt="2024-02-05T21:55:56.119" v="237"/>
          <ac:spMkLst>
            <pc:docMk/>
            <pc:sldMk cId="3660013664" sldId="2147470481"/>
            <ac:spMk id="3" creationId="{F11FCFB0-8DD9-49C6-B8C2-1E3C830F6593}"/>
          </ac:spMkLst>
        </pc:spChg>
      </pc:sldChg>
      <pc:sldChg chg="modSp new">
        <pc:chgData name="Baum, Kristen (STL-MOM)" userId="S::kristen.baum@momentumww.com::ba9efd3d-359d-4012-9c68-3c0424873fac" providerId="AD" clId="Web-{155BA4BC-5C19-65E5-E13D-4B913A5303FD}" dt="2024-02-05T21:57:14.731" v="280" actId="1076"/>
        <pc:sldMkLst>
          <pc:docMk/>
          <pc:sldMk cId="3191828313" sldId="2147470482"/>
        </pc:sldMkLst>
        <pc:spChg chg="mod">
          <ac:chgData name="Baum, Kristen (STL-MOM)" userId="S::kristen.baum@momentumww.com::ba9efd3d-359d-4012-9c68-3c0424873fac" providerId="AD" clId="Web-{155BA4BC-5C19-65E5-E13D-4B913A5303FD}" dt="2024-02-05T21:57:10.716" v="279" actId="20577"/>
          <ac:spMkLst>
            <pc:docMk/>
            <pc:sldMk cId="3191828313" sldId="2147470482"/>
            <ac:spMk id="2" creationId="{F4748DA6-12CC-DB79-1255-837201FDA5BE}"/>
          </ac:spMkLst>
        </pc:spChg>
        <pc:spChg chg="mod">
          <ac:chgData name="Baum, Kristen (STL-MOM)" userId="S::kristen.baum@momentumww.com::ba9efd3d-359d-4012-9c68-3c0424873fac" providerId="AD" clId="Web-{155BA4BC-5C19-65E5-E13D-4B913A5303FD}" dt="2024-02-05T21:57:14.731" v="280" actId="1076"/>
          <ac:spMkLst>
            <pc:docMk/>
            <pc:sldMk cId="3191828313" sldId="2147470482"/>
            <ac:spMk id="3" creationId="{350FE4CB-B41D-3348-7A87-A0C80F2D5B83}"/>
          </ac:spMkLst>
        </pc:spChg>
      </pc:sldChg>
      <pc:sldChg chg="modSp new">
        <pc:chgData name="Baum, Kristen (STL-MOM)" userId="S::kristen.baum@momentumww.com::ba9efd3d-359d-4012-9c68-3c0424873fac" providerId="AD" clId="Web-{155BA4BC-5C19-65E5-E13D-4B913A5303FD}" dt="2024-02-05T22:02:56.418" v="411" actId="20577"/>
        <pc:sldMkLst>
          <pc:docMk/>
          <pc:sldMk cId="2775039341" sldId="2147470483"/>
        </pc:sldMkLst>
        <pc:spChg chg="mod">
          <ac:chgData name="Baum, Kristen (STL-MOM)" userId="S::kristen.baum@momentumww.com::ba9efd3d-359d-4012-9c68-3c0424873fac" providerId="AD" clId="Web-{155BA4BC-5C19-65E5-E13D-4B913A5303FD}" dt="2024-02-05T22:02:56.418" v="411" actId="20577"/>
          <ac:spMkLst>
            <pc:docMk/>
            <pc:sldMk cId="2775039341" sldId="2147470483"/>
            <ac:spMk id="2" creationId="{CD61F8F3-FE53-C755-619E-EB3AD49CF152}"/>
          </ac:spMkLst>
        </pc:spChg>
        <pc:spChg chg="mod">
          <ac:chgData name="Baum, Kristen (STL-MOM)" userId="S::kristen.baum@momentumww.com::ba9efd3d-359d-4012-9c68-3c0424873fac" providerId="AD" clId="Web-{155BA4BC-5C19-65E5-E13D-4B913A5303FD}" dt="2024-02-05T21:58:07.015" v="322" actId="20577"/>
          <ac:spMkLst>
            <pc:docMk/>
            <pc:sldMk cId="2775039341" sldId="2147470483"/>
            <ac:spMk id="3" creationId="{A681B5F7-1ADD-BBBB-9999-ADB1E92C1934}"/>
          </ac:spMkLst>
        </pc:spChg>
      </pc:sldChg>
      <pc:sldChg chg="new del">
        <pc:chgData name="Baum, Kristen (STL-MOM)" userId="S::kristen.baum@momentumww.com::ba9efd3d-359d-4012-9c68-3c0424873fac" providerId="AD" clId="Web-{155BA4BC-5C19-65E5-E13D-4B913A5303FD}" dt="2024-02-05T21:58:47.829" v="325"/>
        <pc:sldMkLst>
          <pc:docMk/>
          <pc:sldMk cId="2500932549" sldId="2147470484"/>
        </pc:sldMkLst>
      </pc:sldChg>
      <pc:sldChg chg="modSp add replId">
        <pc:chgData name="Baum, Kristen (STL-MOM)" userId="S::kristen.baum@momentumww.com::ba9efd3d-359d-4012-9c68-3c0424873fac" providerId="AD" clId="Web-{155BA4BC-5C19-65E5-E13D-4B913A5303FD}" dt="2024-02-05T21:58:53.251" v="344" actId="20577"/>
        <pc:sldMkLst>
          <pc:docMk/>
          <pc:sldMk cId="1718769547" sldId="2147470485"/>
        </pc:sldMkLst>
        <pc:spChg chg="mod">
          <ac:chgData name="Baum, Kristen (STL-MOM)" userId="S::kristen.baum@momentumww.com::ba9efd3d-359d-4012-9c68-3c0424873fac" providerId="AD" clId="Web-{155BA4BC-5C19-65E5-E13D-4B913A5303FD}" dt="2024-02-05T21:58:53.251" v="344" actId="20577"/>
          <ac:spMkLst>
            <pc:docMk/>
            <pc:sldMk cId="1718769547" sldId="2147470485"/>
            <ac:spMk id="6" creationId="{9557EEF6-07E1-F7EA-3779-6A6EDEECCBFA}"/>
          </ac:spMkLst>
        </pc:spChg>
      </pc:sldChg>
      <pc:sldMasterChg chg="add addSldLayout">
        <pc:chgData name="Baum, Kristen (STL-MOM)" userId="S::kristen.baum@momentumww.com::ba9efd3d-359d-4012-9c68-3c0424873fac" providerId="AD" clId="Web-{155BA4BC-5C19-65E5-E13D-4B913A5303FD}" dt="2024-02-05T21:40:50.329" v="6"/>
        <pc:sldMasterMkLst>
          <pc:docMk/>
          <pc:sldMasterMk cId="3211252239" sldId="2147483648"/>
        </pc:sldMasterMkLst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878362182" sldId="2147483649"/>
          </pc:sldLayoutMkLst>
        </pc:sldLayoutChg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3582644745" sldId="2147483651"/>
          </pc:sldLayoutMkLst>
        </pc:sldLayoutChg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2116380052" sldId="2147483669"/>
          </pc:sldLayoutMkLst>
        </pc:sldLayoutChg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625428656" sldId="2147483672"/>
          </pc:sldLayoutMkLst>
        </pc:sldLayoutChg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270037409" sldId="2147483673"/>
          </pc:sldLayoutMkLst>
        </pc:sldLayoutChg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279556388" sldId="2147483674"/>
          </pc:sldLayoutMkLst>
        </pc:sldLayoutChg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1603190777" sldId="2147483675"/>
          </pc:sldLayoutMkLst>
        </pc:sldLayoutChg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3334131381" sldId="2147483687"/>
          </pc:sldLayoutMkLst>
        </pc:sldLayoutChg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1321082173" sldId="2147483689"/>
          </pc:sldLayoutMkLst>
        </pc:sldLayoutChg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3466992159" sldId="2147483690"/>
          </pc:sldLayoutMkLst>
        </pc:sldLayoutChg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1737472165" sldId="2147483691"/>
          </pc:sldLayoutMkLst>
        </pc:sldLayoutChg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3356964045" sldId="2147483692"/>
          </pc:sldLayoutMkLst>
        </pc:sldLayoutChg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3712244443" sldId="2147483693"/>
          </pc:sldLayoutMkLst>
        </pc:sldLayoutChg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2724242476" sldId="2147483694"/>
          </pc:sldLayoutMkLst>
        </pc:sldLayoutChg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966754495" sldId="2147483695"/>
          </pc:sldLayoutMkLst>
        </pc:sldLayoutChg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1501084751" sldId="2147483696"/>
          </pc:sldLayoutMkLst>
        </pc:sldLayoutChg>
        <pc:sldLayoutChg chg="ad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3211252239" sldId="2147483648"/>
            <pc:sldLayoutMk cId="395785928" sldId="2147483697"/>
          </pc:sldLayoutMkLst>
        </pc:sldLayoutChg>
      </pc:sldMasterChg>
      <pc:sldMasterChg chg="addSldLayout modSldLayout">
        <pc:chgData name="Baum, Kristen (STL-MOM)" userId="S::kristen.baum@momentumww.com::ba9efd3d-359d-4012-9c68-3c0424873fac" providerId="AD" clId="Web-{155BA4BC-5C19-65E5-E13D-4B913A5303FD}" dt="2024-02-05T21:40:50.329" v="6"/>
        <pc:sldMasterMkLst>
          <pc:docMk/>
          <pc:sldMasterMk cId="2460954070" sldId="2147483660"/>
        </pc:sldMasterMkLst>
        <pc:sldLayoutChg chg="replI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2460954070" sldId="2147483660"/>
            <pc:sldLayoutMk cId="1718958274" sldId="2147483698"/>
          </pc:sldLayoutMkLst>
        </pc:sldLayoutChg>
        <pc:sldLayoutChg chg="add replId">
          <pc:chgData name="Baum, Kristen (STL-MOM)" userId="S::kristen.baum@momentumww.com::ba9efd3d-359d-4012-9c68-3c0424873fac" providerId="AD" clId="Web-{155BA4BC-5C19-65E5-E13D-4B913A5303FD}" dt="2024-02-05T21:40:50.329" v="6"/>
          <pc:sldLayoutMkLst>
            <pc:docMk/>
            <pc:sldMasterMk cId="2460954070" sldId="2147483660"/>
            <pc:sldLayoutMk cId="4285556081" sldId="2147483699"/>
          </pc:sldLayoutMkLst>
        </pc:sldLayoutChg>
      </pc:sldMasterChg>
    </pc:docChg>
  </pc:docChgLst>
  <pc:docChgLst>
    <pc:chgData name="Baum, Kristen (STL-MOM)" userId="S::kristen.baum@momentumww.com::ba9efd3d-359d-4012-9c68-3c0424873fac" providerId="AD" clId="Web-{AD5DA7F8-7919-77E7-035D-88281436CB46}"/>
    <pc:docChg chg="modSld">
      <pc:chgData name="Baum, Kristen (STL-MOM)" userId="S::kristen.baum@momentumww.com::ba9efd3d-359d-4012-9c68-3c0424873fac" providerId="AD" clId="Web-{AD5DA7F8-7919-77E7-035D-88281436CB46}" dt="2024-02-05T22:08:05.554" v="20" actId="20577"/>
      <pc:docMkLst>
        <pc:docMk/>
      </pc:docMkLst>
      <pc:sldChg chg="modSp">
        <pc:chgData name="Baum, Kristen (STL-MOM)" userId="S::kristen.baum@momentumww.com::ba9efd3d-359d-4012-9c68-3c0424873fac" providerId="AD" clId="Web-{AD5DA7F8-7919-77E7-035D-88281436CB46}" dt="2024-02-05T22:07:45.741" v="16" actId="20577"/>
        <pc:sldMkLst>
          <pc:docMk/>
          <pc:sldMk cId="4157377219" sldId="2147470479"/>
        </pc:sldMkLst>
        <pc:spChg chg="mod">
          <ac:chgData name="Baum, Kristen (STL-MOM)" userId="S::kristen.baum@momentumww.com::ba9efd3d-359d-4012-9c68-3c0424873fac" providerId="AD" clId="Web-{AD5DA7F8-7919-77E7-035D-88281436CB46}" dt="2024-02-05T22:07:45.741" v="16" actId="20577"/>
          <ac:spMkLst>
            <pc:docMk/>
            <pc:sldMk cId="4157377219" sldId="2147470479"/>
            <ac:spMk id="2" creationId="{40D6B808-3ABD-39FE-498C-4B32E382A995}"/>
          </ac:spMkLst>
        </pc:spChg>
      </pc:sldChg>
      <pc:sldChg chg="modSp">
        <pc:chgData name="Baum, Kristen (STL-MOM)" userId="S::kristen.baum@momentumww.com::ba9efd3d-359d-4012-9c68-3c0424873fac" providerId="AD" clId="Web-{AD5DA7F8-7919-77E7-035D-88281436CB46}" dt="2024-02-05T22:07:48.069" v="17" actId="20577"/>
        <pc:sldMkLst>
          <pc:docMk/>
          <pc:sldMk cId="1661168727" sldId="2147470480"/>
        </pc:sldMkLst>
        <pc:spChg chg="mod">
          <ac:chgData name="Baum, Kristen (STL-MOM)" userId="S::kristen.baum@momentumww.com::ba9efd3d-359d-4012-9c68-3c0424873fac" providerId="AD" clId="Web-{AD5DA7F8-7919-77E7-035D-88281436CB46}" dt="2024-02-05T22:07:48.069" v="17" actId="20577"/>
          <ac:spMkLst>
            <pc:docMk/>
            <pc:sldMk cId="1661168727" sldId="2147470480"/>
            <ac:spMk id="2" creationId="{ECB09DAD-4522-F0AD-07C4-7438DD02D9AA}"/>
          </ac:spMkLst>
        </pc:spChg>
      </pc:sldChg>
      <pc:sldChg chg="modSp">
        <pc:chgData name="Baum, Kristen (STL-MOM)" userId="S::kristen.baum@momentumww.com::ba9efd3d-359d-4012-9c68-3c0424873fac" providerId="AD" clId="Web-{AD5DA7F8-7919-77E7-035D-88281436CB46}" dt="2024-02-05T22:07:52.803" v="18" actId="20577"/>
        <pc:sldMkLst>
          <pc:docMk/>
          <pc:sldMk cId="3660013664" sldId="2147470481"/>
        </pc:sldMkLst>
        <pc:spChg chg="mod">
          <ac:chgData name="Baum, Kristen (STL-MOM)" userId="S::kristen.baum@momentumww.com::ba9efd3d-359d-4012-9c68-3c0424873fac" providerId="AD" clId="Web-{AD5DA7F8-7919-77E7-035D-88281436CB46}" dt="2024-02-05T22:07:52.803" v="18" actId="20577"/>
          <ac:spMkLst>
            <pc:docMk/>
            <pc:sldMk cId="3660013664" sldId="2147470481"/>
            <ac:spMk id="2" creationId="{A483EEF0-6C58-D3CF-7002-26ED03033D5E}"/>
          </ac:spMkLst>
        </pc:spChg>
        <pc:spChg chg="mod">
          <ac:chgData name="Baum, Kristen (STL-MOM)" userId="S::kristen.baum@momentumww.com::ba9efd3d-359d-4012-9c68-3c0424873fac" providerId="AD" clId="Web-{AD5DA7F8-7919-77E7-035D-88281436CB46}" dt="2024-02-05T22:07:03.818" v="0"/>
          <ac:spMkLst>
            <pc:docMk/>
            <pc:sldMk cId="3660013664" sldId="2147470481"/>
            <ac:spMk id="3" creationId="{F11FCFB0-8DD9-49C6-B8C2-1E3C830F6593}"/>
          </ac:spMkLst>
        </pc:spChg>
      </pc:sldChg>
      <pc:sldChg chg="modSp">
        <pc:chgData name="Baum, Kristen (STL-MOM)" userId="S::kristen.baum@momentumww.com::ba9efd3d-359d-4012-9c68-3c0424873fac" providerId="AD" clId="Web-{AD5DA7F8-7919-77E7-035D-88281436CB46}" dt="2024-02-05T22:07:57.710" v="19" actId="20577"/>
        <pc:sldMkLst>
          <pc:docMk/>
          <pc:sldMk cId="3191828313" sldId="2147470482"/>
        </pc:sldMkLst>
        <pc:spChg chg="mod">
          <ac:chgData name="Baum, Kristen (STL-MOM)" userId="S::kristen.baum@momentumww.com::ba9efd3d-359d-4012-9c68-3c0424873fac" providerId="AD" clId="Web-{AD5DA7F8-7919-77E7-035D-88281436CB46}" dt="2024-02-05T22:07:57.710" v="19" actId="20577"/>
          <ac:spMkLst>
            <pc:docMk/>
            <pc:sldMk cId="3191828313" sldId="2147470482"/>
            <ac:spMk id="2" creationId="{F4748DA6-12CC-DB79-1255-837201FDA5BE}"/>
          </ac:spMkLst>
        </pc:spChg>
      </pc:sldChg>
      <pc:sldChg chg="modSp">
        <pc:chgData name="Baum, Kristen (STL-MOM)" userId="S::kristen.baum@momentumww.com::ba9efd3d-359d-4012-9c68-3c0424873fac" providerId="AD" clId="Web-{AD5DA7F8-7919-77E7-035D-88281436CB46}" dt="2024-02-05T22:08:05.554" v="20" actId="20577"/>
        <pc:sldMkLst>
          <pc:docMk/>
          <pc:sldMk cId="2775039341" sldId="2147470483"/>
        </pc:sldMkLst>
        <pc:spChg chg="mod">
          <ac:chgData name="Baum, Kristen (STL-MOM)" userId="S::kristen.baum@momentumww.com::ba9efd3d-359d-4012-9c68-3c0424873fac" providerId="AD" clId="Web-{AD5DA7F8-7919-77E7-035D-88281436CB46}" dt="2024-02-05T22:08:05.554" v="20" actId="20577"/>
          <ac:spMkLst>
            <pc:docMk/>
            <pc:sldMk cId="2775039341" sldId="2147470483"/>
            <ac:spMk id="2" creationId="{CD61F8F3-FE53-C755-619E-EB3AD49CF152}"/>
          </ac:spMkLst>
        </pc:spChg>
      </pc:sldChg>
    </pc:docChg>
  </pc:docChgLst>
  <pc:docChgLst>
    <pc:chgData name="Baum, Kristen (STL-MOM)" userId="S::kristen.baum@momentumww.com::ba9efd3d-359d-4012-9c68-3c0424873fac" providerId="AD" clId="Web-{25E82D32-7AE9-C78E-DDEB-921D40B7EDDC}"/>
    <pc:docChg chg="modSld">
      <pc:chgData name="Baum, Kristen (STL-MOM)" userId="S::kristen.baum@momentumww.com::ba9efd3d-359d-4012-9c68-3c0424873fac" providerId="AD" clId="Web-{25E82D32-7AE9-C78E-DDEB-921D40B7EDDC}" dt="2024-03-06T15:11:36.992" v="1" actId="20577"/>
      <pc:docMkLst>
        <pc:docMk/>
      </pc:docMkLst>
      <pc:sldChg chg="modSp">
        <pc:chgData name="Baum, Kristen (STL-MOM)" userId="S::kristen.baum@momentumww.com::ba9efd3d-359d-4012-9c68-3c0424873fac" providerId="AD" clId="Web-{25E82D32-7AE9-C78E-DDEB-921D40B7EDDC}" dt="2024-03-06T15:11:36.992" v="1" actId="20577"/>
        <pc:sldMkLst>
          <pc:docMk/>
          <pc:sldMk cId="4157377219" sldId="2147470479"/>
        </pc:sldMkLst>
        <pc:spChg chg="mod">
          <ac:chgData name="Baum, Kristen (STL-MOM)" userId="S::kristen.baum@momentumww.com::ba9efd3d-359d-4012-9c68-3c0424873fac" providerId="AD" clId="Web-{25E82D32-7AE9-C78E-DDEB-921D40B7EDDC}" dt="2024-03-06T15:11:36.992" v="1" actId="20577"/>
          <ac:spMkLst>
            <pc:docMk/>
            <pc:sldMk cId="4157377219" sldId="2147470479"/>
            <ac:spMk id="5" creationId="{9B40792E-B0A6-8A0F-40BB-6E85E0B377D7}"/>
          </ac:spMkLst>
        </pc:spChg>
      </pc:sldChg>
    </pc:docChg>
  </pc:docChgLst>
</pc:chgInfo>
</file>

<file path=ppt/comments/modernComment_7FFFCC8D_BC75EA8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3AA7E95-688D-443A-B305-A4A4FB565BFA}" authorId="{B012F9A7-10C5-D959-DAA8-18DABF20A4D5}" status="resolved" created="2023-04-26T20:39:41.124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4149539577" sldId="2147470348"/>
      <ac:spMk id="3" creationId="{C92E940E-FE55-D59E-9C21-3CF8A25E3506}"/>
    </ac:deMkLst>
    <p188:replyLst>
      <p188:reply id="{32473AFE-C753-4073-B7A8-C62F06BCF72C}" authorId="{481FB2E4-F256-572D-F355-6FB916164B7B}" created="2023-04-27T10:16:47.011">
        <p188:txBody>
          <a:bodyPr/>
          <a:lstStyle/>
          <a:p>
            <a:r>
              <a:rPr lang="en-GB"/>
              <a:t>[@Baum, Kristen (STL-MOM)] Added some thoughts</a:t>
            </a:r>
          </a:p>
        </p188:txBody>
      </p188:reply>
    </p188:replyLst>
    <p188:txBody>
      <a:bodyPr/>
      <a:lstStyle/>
      <a:p>
        <a:r>
          <a:rPr lang="en-US"/>
          <a:t>[@Sanderson, Steve (WW-MOM)]  or [@Wang, Yeuting (NYC-MOM)]  are there any next steps that you can add here? 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183CF39-C5CD-4F98-90A2-A9FEA7FF4DEB}" type="doc">
      <dgm:prSet loTypeId="urn:microsoft.com/office/officeart/2005/8/layout/hList1" loCatId="list" qsTypeId="urn:microsoft.com/office/officeart/2005/8/quickstyle/simple1" qsCatId="simple" csTypeId="urn:microsoft.com/office/officeart/2005/8/colors/accent2_5" csCatId="accent2" phldr="1"/>
      <dgm:spPr/>
      <dgm:t>
        <a:bodyPr/>
        <a:lstStyle/>
        <a:p>
          <a:endParaRPr lang="en-GB"/>
        </a:p>
      </dgm:t>
    </dgm:pt>
    <dgm:pt modelId="{3FF369E4-AC07-4511-A93E-77F77EAC8799}">
      <dgm:prSet phldrT="[Text]"/>
      <dgm:spPr/>
      <dgm:t>
        <a:bodyPr/>
        <a:lstStyle/>
        <a:p>
          <a:pPr>
            <a:lnSpc>
              <a:spcPct val="150000"/>
            </a:lnSpc>
            <a:buFont typeface="Calibri"/>
            <a:buChar char="-"/>
          </a:pPr>
          <a:r>
            <a:rPr lang="en-US" b="1">
              <a:cs typeface="Arial"/>
            </a:rPr>
            <a:t>Momentum Data Discovery</a:t>
          </a:r>
          <a:endParaRPr lang="en-GB"/>
        </a:p>
      </dgm:t>
    </dgm:pt>
    <dgm:pt modelId="{513F7D0A-E986-4935-8E16-8E480E711870}" type="parTrans" cxnId="{C2047C75-7B4A-47BE-924B-EA32C9E0AC6A}">
      <dgm:prSet/>
      <dgm:spPr/>
      <dgm:t>
        <a:bodyPr/>
        <a:lstStyle/>
        <a:p>
          <a:endParaRPr lang="en-GB"/>
        </a:p>
      </dgm:t>
    </dgm:pt>
    <dgm:pt modelId="{CD323735-D181-4962-93E5-AB990E040DF4}" type="sibTrans" cxnId="{C2047C75-7B4A-47BE-924B-EA32C9E0AC6A}">
      <dgm:prSet/>
      <dgm:spPr/>
      <dgm:t>
        <a:bodyPr/>
        <a:lstStyle/>
        <a:p>
          <a:endParaRPr lang="en-GB"/>
        </a:p>
      </dgm:t>
    </dgm:pt>
    <dgm:pt modelId="{5EA190E0-D78C-4056-AD9C-316403338218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Audit all data capture </a:t>
          </a:r>
          <a:r>
            <a:rPr lang="en-US" sz="1400">
              <a:latin typeface="Arial" panose="020B0604020202020204"/>
              <a:cs typeface="Arial"/>
            </a:rPr>
            <a:t>by</a:t>
          </a:r>
          <a:r>
            <a:rPr lang="en-US" sz="1400">
              <a:cs typeface="Arial"/>
            </a:rPr>
            <a:t> the client team</a:t>
          </a:r>
        </a:p>
      </dgm:t>
    </dgm:pt>
    <dgm:pt modelId="{285907C3-97FD-47A5-8D12-B5793B9A42A3}" type="parTrans" cxnId="{AC8ADE37-C617-4DCB-95E0-D1A9017D981A}">
      <dgm:prSet/>
      <dgm:spPr/>
      <dgm:t>
        <a:bodyPr/>
        <a:lstStyle/>
        <a:p>
          <a:endParaRPr lang="en-GB"/>
        </a:p>
      </dgm:t>
    </dgm:pt>
    <dgm:pt modelId="{FD533361-42EB-4502-AEE5-4D4E3D33F05E}" type="sibTrans" cxnId="{AC8ADE37-C617-4DCB-95E0-D1A9017D981A}">
      <dgm:prSet/>
      <dgm:spPr/>
      <dgm:t>
        <a:bodyPr/>
        <a:lstStyle/>
        <a:p>
          <a:endParaRPr lang="en-GB"/>
        </a:p>
      </dgm:t>
    </dgm:pt>
    <dgm:pt modelId="{C497C68E-25AA-42C3-8999-68CAB7888E51}">
      <dgm:prSet custT="1"/>
      <dgm:spPr/>
      <dgm:t>
        <a:bodyPr/>
        <a:lstStyle/>
        <a:p>
          <a:pPr rtl="0">
            <a:lnSpc>
              <a:spcPct val="150000"/>
            </a:lnSpc>
          </a:pPr>
          <a:r>
            <a:rPr lang="en-US" sz="1400" i="1">
              <a:cs typeface="Arial"/>
            </a:rPr>
            <a:t>What do we have?</a:t>
          </a:r>
          <a:r>
            <a:rPr lang="en-US" sz="1400" i="1">
              <a:latin typeface="Arial" panose="020B0604020202020204"/>
              <a:cs typeface="Arial"/>
            </a:rPr>
            <a:t> </a:t>
          </a:r>
        </a:p>
      </dgm:t>
    </dgm:pt>
    <dgm:pt modelId="{0FE4D213-0B6B-435E-B7CD-CB6C1B591217}" type="parTrans" cxnId="{D12A63A7-6689-42D1-A2D8-41FEB1901540}">
      <dgm:prSet/>
      <dgm:spPr/>
      <dgm:t>
        <a:bodyPr/>
        <a:lstStyle/>
        <a:p>
          <a:endParaRPr lang="en-GB"/>
        </a:p>
      </dgm:t>
    </dgm:pt>
    <dgm:pt modelId="{B1CD778F-BDB9-4A37-A549-29826E03106C}" type="sibTrans" cxnId="{D12A63A7-6689-42D1-A2D8-41FEB1901540}">
      <dgm:prSet/>
      <dgm:spPr/>
      <dgm:t>
        <a:bodyPr/>
        <a:lstStyle/>
        <a:p>
          <a:endParaRPr lang="en-GB"/>
        </a:p>
      </dgm:t>
    </dgm:pt>
    <dgm:pt modelId="{1928EAFD-621B-41DD-8F9F-593A90141DAC}">
      <dgm:prSet custT="1"/>
      <dgm:spPr/>
      <dgm:t>
        <a:bodyPr/>
        <a:lstStyle/>
        <a:p>
          <a:pPr rtl="0">
            <a:lnSpc>
              <a:spcPct val="150000"/>
            </a:lnSpc>
          </a:pPr>
          <a:r>
            <a:rPr lang="en-US" sz="1400" i="1">
              <a:cs typeface="Arial"/>
            </a:rPr>
            <a:t>What is the source?</a:t>
          </a:r>
          <a:r>
            <a:rPr lang="en-US" sz="1400" i="1">
              <a:latin typeface="Arial" panose="020B0604020202020204"/>
              <a:cs typeface="Arial"/>
            </a:rPr>
            <a:t> </a:t>
          </a:r>
          <a:endParaRPr lang="en-US" sz="1400" i="1">
            <a:cs typeface="Arial"/>
          </a:endParaRPr>
        </a:p>
      </dgm:t>
    </dgm:pt>
    <dgm:pt modelId="{D7EB0B28-A03B-463E-856C-AFE8E909F51E}" type="parTrans" cxnId="{489EAAD2-2AD8-44CB-ABF1-034AB02E4ABC}">
      <dgm:prSet/>
      <dgm:spPr/>
      <dgm:t>
        <a:bodyPr/>
        <a:lstStyle/>
        <a:p>
          <a:endParaRPr lang="en-GB"/>
        </a:p>
      </dgm:t>
    </dgm:pt>
    <dgm:pt modelId="{2EA24A5A-4D95-48F9-A1B8-2090D9CBCB7D}" type="sibTrans" cxnId="{489EAAD2-2AD8-44CB-ABF1-034AB02E4ABC}">
      <dgm:prSet/>
      <dgm:spPr/>
      <dgm:t>
        <a:bodyPr/>
        <a:lstStyle/>
        <a:p>
          <a:endParaRPr lang="en-GB"/>
        </a:p>
      </dgm:t>
    </dgm:pt>
    <dgm:pt modelId="{E55A60FE-7448-4E0E-92AE-0CCF7AC00673}">
      <dgm:prSet custT="1"/>
      <dgm:spPr/>
      <dgm:t>
        <a:bodyPr/>
        <a:lstStyle/>
        <a:p>
          <a:pPr rtl="0">
            <a:lnSpc>
              <a:spcPct val="150000"/>
            </a:lnSpc>
          </a:pPr>
          <a:r>
            <a:rPr lang="en-US" sz="1400" i="1">
              <a:cs typeface="Arial"/>
            </a:rPr>
            <a:t>What is the cadence?</a:t>
          </a:r>
          <a:r>
            <a:rPr lang="en-US" sz="1400" i="1">
              <a:latin typeface="Arial" panose="020B0604020202020204"/>
              <a:cs typeface="Arial"/>
            </a:rPr>
            <a:t> </a:t>
          </a:r>
          <a:endParaRPr lang="en-US" sz="1400" i="1">
            <a:cs typeface="Arial"/>
          </a:endParaRPr>
        </a:p>
      </dgm:t>
    </dgm:pt>
    <dgm:pt modelId="{7E5F26C9-C5AE-493D-AFC2-2CED9D969B71}" type="parTrans" cxnId="{5A73EF0E-73F2-4A7B-8A26-A50F127EEEBB}">
      <dgm:prSet/>
      <dgm:spPr/>
      <dgm:t>
        <a:bodyPr/>
        <a:lstStyle/>
        <a:p>
          <a:endParaRPr lang="en-GB"/>
        </a:p>
      </dgm:t>
    </dgm:pt>
    <dgm:pt modelId="{2EED5F8C-4DF8-4454-BB44-0B9497A81084}" type="sibTrans" cxnId="{5A73EF0E-73F2-4A7B-8A26-A50F127EEEBB}">
      <dgm:prSet/>
      <dgm:spPr/>
      <dgm:t>
        <a:bodyPr/>
        <a:lstStyle/>
        <a:p>
          <a:endParaRPr lang="en-GB"/>
        </a:p>
      </dgm:t>
    </dgm:pt>
    <dgm:pt modelId="{CB3D9CDF-C131-442D-B67E-AB5C1D1F5BD1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 i="1">
              <a:cs typeface="Arial"/>
            </a:rPr>
            <a:t>What is captured manually by a field team?</a:t>
          </a:r>
        </a:p>
      </dgm:t>
    </dgm:pt>
    <dgm:pt modelId="{5DF7DA63-2055-495F-B7E4-522142983592}" type="parTrans" cxnId="{19BAA179-57C4-4ADD-A14E-F0D8C77F986C}">
      <dgm:prSet/>
      <dgm:spPr/>
      <dgm:t>
        <a:bodyPr/>
        <a:lstStyle/>
        <a:p>
          <a:endParaRPr lang="en-GB"/>
        </a:p>
      </dgm:t>
    </dgm:pt>
    <dgm:pt modelId="{A3313BAB-E4B4-4A9E-983A-F91BB36BEA27}" type="sibTrans" cxnId="{19BAA179-57C4-4ADD-A14E-F0D8C77F986C}">
      <dgm:prSet/>
      <dgm:spPr/>
      <dgm:t>
        <a:bodyPr/>
        <a:lstStyle/>
        <a:p>
          <a:endParaRPr lang="en-GB"/>
        </a:p>
      </dgm:t>
    </dgm:pt>
    <dgm:pt modelId="{E4BBDE64-2D3A-4A36-9742-CF9F2E6FB7D2}">
      <dgm:prSet/>
      <dgm:spPr/>
      <dgm:t>
        <a:bodyPr/>
        <a:lstStyle/>
        <a:p>
          <a:pPr>
            <a:lnSpc>
              <a:spcPct val="150000"/>
            </a:lnSpc>
          </a:pPr>
          <a:endParaRPr lang="en-US" sz="2000">
            <a:cs typeface="Arial"/>
          </a:endParaRPr>
        </a:p>
      </dgm:t>
    </dgm:pt>
    <dgm:pt modelId="{606226D9-F23F-46E9-B18B-3D23644AD611}" type="parTrans" cxnId="{C0F02AA6-F14F-4F4D-8F0D-BF16D12D5441}">
      <dgm:prSet/>
      <dgm:spPr/>
      <dgm:t>
        <a:bodyPr/>
        <a:lstStyle/>
        <a:p>
          <a:endParaRPr lang="en-GB"/>
        </a:p>
      </dgm:t>
    </dgm:pt>
    <dgm:pt modelId="{8E412BE1-E260-4AE2-8D7E-4EB20FD0A4AC}" type="sibTrans" cxnId="{C0F02AA6-F14F-4F4D-8F0D-BF16D12D5441}">
      <dgm:prSet/>
      <dgm:spPr/>
      <dgm:t>
        <a:bodyPr/>
        <a:lstStyle/>
        <a:p>
          <a:endParaRPr lang="en-GB"/>
        </a:p>
      </dgm:t>
    </dgm:pt>
    <dgm:pt modelId="{4081BEA9-7605-480C-B8B8-28BD4A0F9E56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1">
              <a:cs typeface="Arial"/>
            </a:rPr>
            <a:t>Technical Discovery UED</a:t>
          </a:r>
        </a:p>
      </dgm:t>
    </dgm:pt>
    <dgm:pt modelId="{D4EA80BE-2EF2-4753-BC5D-9331D7C20DCE}" type="parTrans" cxnId="{0B45F803-1408-4991-AE7C-FDC13BBE8E79}">
      <dgm:prSet/>
      <dgm:spPr/>
      <dgm:t>
        <a:bodyPr/>
        <a:lstStyle/>
        <a:p>
          <a:endParaRPr lang="en-GB"/>
        </a:p>
      </dgm:t>
    </dgm:pt>
    <dgm:pt modelId="{9F0DF8E4-1AF5-4AFF-8DA9-022B0421B972}" type="sibTrans" cxnId="{0B45F803-1408-4991-AE7C-FDC13BBE8E79}">
      <dgm:prSet/>
      <dgm:spPr/>
      <dgm:t>
        <a:bodyPr/>
        <a:lstStyle/>
        <a:p>
          <a:endParaRPr lang="en-GB"/>
        </a:p>
      </dgm:t>
    </dgm:pt>
    <dgm:pt modelId="{41964B76-E34B-4D6F-8C5F-5F310163E706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Detailed requirements document</a:t>
          </a:r>
        </a:p>
      </dgm:t>
    </dgm:pt>
    <dgm:pt modelId="{C8020FF9-A8BC-484D-880E-6F0F5397682A}" type="parTrans" cxnId="{A0147313-A024-46D0-844D-30E01B945054}">
      <dgm:prSet/>
      <dgm:spPr/>
      <dgm:t>
        <a:bodyPr/>
        <a:lstStyle/>
        <a:p>
          <a:endParaRPr lang="en-GB"/>
        </a:p>
      </dgm:t>
    </dgm:pt>
    <dgm:pt modelId="{A9A54E7B-DCC2-45F3-A5E1-ECB769096419}" type="sibTrans" cxnId="{A0147313-A024-46D0-844D-30E01B945054}">
      <dgm:prSet/>
      <dgm:spPr/>
      <dgm:t>
        <a:bodyPr/>
        <a:lstStyle/>
        <a:p>
          <a:endParaRPr lang="en-GB"/>
        </a:p>
      </dgm:t>
    </dgm:pt>
    <dgm:pt modelId="{F41EBEE8-64AD-4B37-A69B-9AFB90DEF33B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High-level solution architecture</a:t>
          </a:r>
        </a:p>
      </dgm:t>
    </dgm:pt>
    <dgm:pt modelId="{8DD6EB09-273D-4C4E-940A-FF85C9AAF63F}" type="parTrans" cxnId="{67448168-1088-45A4-A05B-D18E1BE85907}">
      <dgm:prSet/>
      <dgm:spPr/>
      <dgm:t>
        <a:bodyPr/>
        <a:lstStyle/>
        <a:p>
          <a:endParaRPr lang="en-GB"/>
        </a:p>
      </dgm:t>
    </dgm:pt>
    <dgm:pt modelId="{8EDEE2CC-1EEF-4D84-AE37-B8C75F5E5307}" type="sibTrans" cxnId="{67448168-1088-45A4-A05B-D18E1BE85907}">
      <dgm:prSet/>
      <dgm:spPr/>
      <dgm:t>
        <a:bodyPr/>
        <a:lstStyle/>
        <a:p>
          <a:endParaRPr lang="en-GB"/>
        </a:p>
      </dgm:t>
    </dgm:pt>
    <dgm:pt modelId="{FE7B0D46-6BB3-4A22-B2FA-C13E63B7DEF9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API definitions</a:t>
          </a:r>
        </a:p>
      </dgm:t>
    </dgm:pt>
    <dgm:pt modelId="{637CFAD7-0407-44E9-9594-F47A76DC7422}" type="parTrans" cxnId="{C14DF13C-E398-41CB-8A79-08011C818554}">
      <dgm:prSet/>
      <dgm:spPr/>
      <dgm:t>
        <a:bodyPr/>
        <a:lstStyle/>
        <a:p>
          <a:endParaRPr lang="en-GB"/>
        </a:p>
      </dgm:t>
    </dgm:pt>
    <dgm:pt modelId="{8642C245-B321-4945-877C-D73B76C20847}" type="sibTrans" cxnId="{C14DF13C-E398-41CB-8A79-08011C818554}">
      <dgm:prSet/>
      <dgm:spPr/>
      <dgm:t>
        <a:bodyPr/>
        <a:lstStyle/>
        <a:p>
          <a:endParaRPr lang="en-GB"/>
        </a:p>
      </dgm:t>
    </dgm:pt>
    <dgm:pt modelId="{FAE806D2-F298-47BC-9284-E829D3E1646D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DB design</a:t>
          </a:r>
        </a:p>
      </dgm:t>
    </dgm:pt>
    <dgm:pt modelId="{82EDCFC3-B5E8-4FAF-A3D1-67BB536D5252}" type="parTrans" cxnId="{483D188A-979F-4141-8A9F-A27113B0D95F}">
      <dgm:prSet/>
      <dgm:spPr/>
      <dgm:t>
        <a:bodyPr/>
        <a:lstStyle/>
        <a:p>
          <a:endParaRPr lang="en-GB"/>
        </a:p>
      </dgm:t>
    </dgm:pt>
    <dgm:pt modelId="{E4B2753A-B176-42BF-8A05-79923D0D6403}" type="sibTrans" cxnId="{483D188A-979F-4141-8A9F-A27113B0D95F}">
      <dgm:prSet/>
      <dgm:spPr/>
      <dgm:t>
        <a:bodyPr/>
        <a:lstStyle/>
        <a:p>
          <a:endParaRPr lang="en-GB"/>
        </a:p>
      </dgm:t>
    </dgm:pt>
    <dgm:pt modelId="{A1205DD6-7451-4367-9432-8C5EC22A3B1D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Front-end Mockup</a:t>
          </a:r>
          <a:br>
            <a:rPr lang="en-US" sz="2000">
              <a:cs typeface="Arial"/>
            </a:rPr>
          </a:br>
          <a:endParaRPr lang="en-US" sz="2000"/>
        </a:p>
      </dgm:t>
    </dgm:pt>
    <dgm:pt modelId="{561AA78A-3A09-4097-9BEF-9307EFD07D93}" type="parTrans" cxnId="{83E68977-3A2A-4DC8-B3C7-E7DC9D365469}">
      <dgm:prSet/>
      <dgm:spPr/>
      <dgm:t>
        <a:bodyPr/>
        <a:lstStyle/>
        <a:p>
          <a:endParaRPr lang="en-GB"/>
        </a:p>
      </dgm:t>
    </dgm:pt>
    <dgm:pt modelId="{76A60A05-0FC8-439B-BE6C-037D5C261225}" type="sibTrans" cxnId="{83E68977-3A2A-4DC8-B3C7-E7DC9D365469}">
      <dgm:prSet/>
      <dgm:spPr/>
      <dgm:t>
        <a:bodyPr/>
        <a:lstStyle/>
        <a:p>
          <a:endParaRPr lang="en-GB"/>
        </a:p>
      </dgm:t>
    </dgm:pt>
    <dgm:pt modelId="{5D91B453-9930-4BE4-8577-4124BA5B7531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1">
              <a:cs typeface="Arial"/>
            </a:rPr>
            <a:t>Field Management: </a:t>
          </a:r>
          <a:r>
            <a:rPr lang="en-US" b="1" err="1">
              <a:cs typeface="Arial"/>
            </a:rPr>
            <a:t>BrandScopic</a:t>
          </a:r>
          <a:endParaRPr lang="en-US" b="1">
            <a:cs typeface="Arial"/>
          </a:endParaRPr>
        </a:p>
      </dgm:t>
    </dgm:pt>
    <dgm:pt modelId="{7BAAA704-9B2C-4BB3-950C-84EE96C22B9C}" type="parTrans" cxnId="{826BC78D-537B-47C0-A7E6-B191D55E6C20}">
      <dgm:prSet/>
      <dgm:spPr/>
      <dgm:t>
        <a:bodyPr/>
        <a:lstStyle/>
        <a:p>
          <a:endParaRPr lang="en-GB"/>
        </a:p>
      </dgm:t>
    </dgm:pt>
    <dgm:pt modelId="{E21DEACA-BC14-415D-900B-86469E718613}" type="sibTrans" cxnId="{826BC78D-537B-47C0-A7E6-B191D55E6C20}">
      <dgm:prSet/>
      <dgm:spPr/>
      <dgm:t>
        <a:bodyPr/>
        <a:lstStyle/>
        <a:p>
          <a:endParaRPr lang="en-GB"/>
        </a:p>
      </dgm:t>
    </dgm:pt>
    <dgm:pt modelId="{14D14315-809B-40D6-AE5F-091A48BCB0E6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Vendor Set Up, security &amp; sign SOW</a:t>
          </a:r>
        </a:p>
      </dgm:t>
    </dgm:pt>
    <dgm:pt modelId="{68E49C5F-8B11-49DB-9C3E-CF5DBB67BCC7}" type="parTrans" cxnId="{A219C91B-35DF-4EB3-B497-C867884AA788}">
      <dgm:prSet/>
      <dgm:spPr/>
      <dgm:t>
        <a:bodyPr/>
        <a:lstStyle/>
        <a:p>
          <a:endParaRPr lang="en-GB"/>
        </a:p>
      </dgm:t>
    </dgm:pt>
    <dgm:pt modelId="{CDD4D6FF-919E-42B8-B6B0-0A361D197733}" type="sibTrans" cxnId="{A219C91B-35DF-4EB3-B497-C867884AA788}">
      <dgm:prSet/>
      <dgm:spPr/>
      <dgm:t>
        <a:bodyPr/>
        <a:lstStyle/>
        <a:p>
          <a:endParaRPr lang="en-GB"/>
        </a:p>
      </dgm:t>
    </dgm:pt>
    <dgm:pt modelId="{C3242C99-50C7-4788-BAA2-B8F88F27699B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Design a deployment plan</a:t>
          </a:r>
        </a:p>
      </dgm:t>
    </dgm:pt>
    <dgm:pt modelId="{5A99646F-9ED6-447B-B160-F4A56E0CF23A}" type="parTrans" cxnId="{20D6D33F-C026-4547-B135-0A01D33A2EFC}">
      <dgm:prSet/>
      <dgm:spPr/>
      <dgm:t>
        <a:bodyPr/>
        <a:lstStyle/>
        <a:p>
          <a:endParaRPr lang="en-GB"/>
        </a:p>
      </dgm:t>
    </dgm:pt>
    <dgm:pt modelId="{664E3936-3D39-4B98-B3FA-5CA822888540}" type="sibTrans" cxnId="{20D6D33F-C026-4547-B135-0A01D33A2EFC}">
      <dgm:prSet/>
      <dgm:spPr/>
      <dgm:t>
        <a:bodyPr/>
        <a:lstStyle/>
        <a:p>
          <a:endParaRPr lang="en-GB"/>
        </a:p>
      </dgm:t>
    </dgm:pt>
    <dgm:pt modelId="{E71BA93B-0744-48AA-BFE9-3F6C1B08D76E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Process and training material</a:t>
          </a:r>
        </a:p>
      </dgm:t>
    </dgm:pt>
    <dgm:pt modelId="{CC461BCF-22C2-4725-B25C-42D4D426EE08}" type="parTrans" cxnId="{165C3B11-B2E3-4350-BD13-9C0963870317}">
      <dgm:prSet/>
      <dgm:spPr/>
      <dgm:t>
        <a:bodyPr/>
        <a:lstStyle/>
        <a:p>
          <a:endParaRPr lang="en-GB"/>
        </a:p>
      </dgm:t>
    </dgm:pt>
    <dgm:pt modelId="{CC31C1D2-B08B-42DA-8417-851AEFF568C7}" type="sibTrans" cxnId="{165C3B11-B2E3-4350-BD13-9C0963870317}">
      <dgm:prSet/>
      <dgm:spPr/>
      <dgm:t>
        <a:bodyPr/>
        <a:lstStyle/>
        <a:p>
          <a:endParaRPr lang="en-GB"/>
        </a:p>
      </dgm:t>
    </dgm:pt>
    <dgm:pt modelId="{E4DFDA1F-06EF-409D-A8C8-C6A453DA6FE8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Load test use case</a:t>
          </a:r>
          <a:endParaRPr lang="en-US" sz="2000">
            <a:cs typeface="Arial"/>
          </a:endParaRPr>
        </a:p>
      </dgm:t>
    </dgm:pt>
    <dgm:pt modelId="{7E6283FE-0C00-494B-8D61-4D5B7078E2D4}" type="parTrans" cxnId="{F9B1A27C-D1A2-45B1-8BBC-DDE4BC2536CC}">
      <dgm:prSet/>
      <dgm:spPr/>
      <dgm:t>
        <a:bodyPr/>
        <a:lstStyle/>
        <a:p>
          <a:endParaRPr lang="en-GB"/>
        </a:p>
      </dgm:t>
    </dgm:pt>
    <dgm:pt modelId="{BB6B02F3-26EA-4FBB-B73B-333CFF7EECA0}" type="sibTrans" cxnId="{F9B1A27C-D1A2-45B1-8BBC-DDE4BC2536CC}">
      <dgm:prSet/>
      <dgm:spPr/>
      <dgm:t>
        <a:bodyPr/>
        <a:lstStyle/>
        <a:p>
          <a:endParaRPr lang="en-GB"/>
        </a:p>
      </dgm:t>
    </dgm:pt>
    <dgm:pt modelId="{273D4A53-FD20-4CE6-B4E9-A69A77DF5818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1">
              <a:cs typeface="Arial"/>
            </a:rPr>
            <a:t>Placer POC</a:t>
          </a:r>
        </a:p>
      </dgm:t>
    </dgm:pt>
    <dgm:pt modelId="{7BB346C9-DF8E-41A0-A88F-CE3557882FAB}" type="parTrans" cxnId="{310DB6A9-8CB7-492F-8D58-85090AB582F2}">
      <dgm:prSet/>
      <dgm:spPr/>
      <dgm:t>
        <a:bodyPr/>
        <a:lstStyle/>
        <a:p>
          <a:endParaRPr lang="en-GB"/>
        </a:p>
      </dgm:t>
    </dgm:pt>
    <dgm:pt modelId="{451EADCE-3048-4B20-8653-BE5BE4315441}" type="sibTrans" cxnId="{310DB6A9-8CB7-492F-8D58-85090AB582F2}">
      <dgm:prSet/>
      <dgm:spPr/>
      <dgm:t>
        <a:bodyPr/>
        <a:lstStyle/>
        <a:p>
          <a:endParaRPr lang="en-GB"/>
        </a:p>
      </dgm:t>
    </dgm:pt>
    <dgm:pt modelId="{CBADCF36-8786-4B19-8AA2-5728662563BB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Data extraction</a:t>
          </a:r>
        </a:p>
      </dgm:t>
    </dgm:pt>
    <dgm:pt modelId="{8D99A0B4-16EF-446F-9DFB-AACB1507CBC0}" type="parTrans" cxnId="{3E1EC0E5-23C0-4297-B48C-F38725AB15CF}">
      <dgm:prSet/>
      <dgm:spPr/>
      <dgm:t>
        <a:bodyPr/>
        <a:lstStyle/>
        <a:p>
          <a:endParaRPr lang="en-GB"/>
        </a:p>
      </dgm:t>
    </dgm:pt>
    <dgm:pt modelId="{FD59209D-F7BD-4A48-B664-20C63650EA65}" type="sibTrans" cxnId="{3E1EC0E5-23C0-4297-B48C-F38725AB15CF}">
      <dgm:prSet/>
      <dgm:spPr/>
      <dgm:t>
        <a:bodyPr/>
        <a:lstStyle/>
        <a:p>
          <a:endParaRPr lang="en-GB"/>
        </a:p>
      </dgm:t>
    </dgm:pt>
    <dgm:pt modelId="{A5D2F73E-D682-4E59-ABDD-FB32BEA94D37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API design calculating the number of calls</a:t>
          </a:r>
        </a:p>
      </dgm:t>
    </dgm:pt>
    <dgm:pt modelId="{B0221F58-42FB-4D81-A23A-4D267EA46108}" type="parTrans" cxnId="{1B89CE5C-0076-4AF3-85EE-674DC6661B16}">
      <dgm:prSet/>
      <dgm:spPr/>
      <dgm:t>
        <a:bodyPr/>
        <a:lstStyle/>
        <a:p>
          <a:endParaRPr lang="en-GB"/>
        </a:p>
      </dgm:t>
    </dgm:pt>
    <dgm:pt modelId="{676C57C7-3FED-4895-BAC8-EE7F64F41A80}" type="sibTrans" cxnId="{1B89CE5C-0076-4AF3-85EE-674DC6661B16}">
      <dgm:prSet/>
      <dgm:spPr/>
      <dgm:t>
        <a:bodyPr/>
        <a:lstStyle/>
        <a:p>
          <a:endParaRPr lang="en-GB"/>
        </a:p>
      </dgm:t>
    </dgm:pt>
    <dgm:pt modelId="{8D93C469-027D-4248-A5D8-4A5F5ABBFC13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Document insights gathered</a:t>
          </a:r>
        </a:p>
      </dgm:t>
    </dgm:pt>
    <dgm:pt modelId="{580A0447-6D1C-47B1-B3D9-0BE5A367933C}" type="parTrans" cxnId="{9811E906-915A-4A7B-BC0E-403B2446C72F}">
      <dgm:prSet/>
      <dgm:spPr/>
      <dgm:t>
        <a:bodyPr/>
        <a:lstStyle/>
        <a:p>
          <a:endParaRPr lang="en-GB"/>
        </a:p>
      </dgm:t>
    </dgm:pt>
    <dgm:pt modelId="{F4A21ABF-57E2-445F-9CE8-CBBB956F9949}" type="sibTrans" cxnId="{9811E906-915A-4A7B-BC0E-403B2446C72F}">
      <dgm:prSet/>
      <dgm:spPr/>
      <dgm:t>
        <a:bodyPr/>
        <a:lstStyle/>
        <a:p>
          <a:endParaRPr lang="en-GB"/>
        </a:p>
      </dgm:t>
    </dgm:pt>
    <dgm:pt modelId="{C44269AD-7D31-4D6A-AB7C-769A31C25130}">
      <dgm:prSet/>
      <dgm:spPr/>
      <dgm:t>
        <a:bodyPr/>
        <a:lstStyle/>
        <a:p>
          <a:pPr>
            <a:lnSpc>
              <a:spcPct val="150000"/>
            </a:lnSpc>
          </a:pPr>
          <a:endParaRPr lang="en-US" sz="2000">
            <a:cs typeface="Arial"/>
          </a:endParaRPr>
        </a:p>
      </dgm:t>
    </dgm:pt>
    <dgm:pt modelId="{6F9AF07B-353C-4CF3-8F81-2212F494A071}" type="parTrans" cxnId="{AC3A3AF7-5A0B-4FC8-8A67-D5AAA39B7B21}">
      <dgm:prSet/>
      <dgm:spPr/>
      <dgm:t>
        <a:bodyPr/>
        <a:lstStyle/>
        <a:p>
          <a:endParaRPr lang="en-GB"/>
        </a:p>
      </dgm:t>
    </dgm:pt>
    <dgm:pt modelId="{F6BD0D93-7CB2-49A9-A598-4F80CD85794B}" type="sibTrans" cxnId="{AC3A3AF7-5A0B-4FC8-8A67-D5AAA39B7B21}">
      <dgm:prSet/>
      <dgm:spPr/>
      <dgm:t>
        <a:bodyPr/>
        <a:lstStyle/>
        <a:p>
          <a:endParaRPr lang="en-GB"/>
        </a:p>
      </dgm:t>
    </dgm:pt>
    <dgm:pt modelId="{0CE13F5C-18D2-422E-9DB8-B8C6803AAC7B}" type="pres">
      <dgm:prSet presAssocID="{0183CF39-C5CD-4F98-90A2-A9FEA7FF4DEB}" presName="Name0" presStyleCnt="0">
        <dgm:presLayoutVars>
          <dgm:dir/>
          <dgm:animLvl val="lvl"/>
          <dgm:resizeHandles val="exact"/>
        </dgm:presLayoutVars>
      </dgm:prSet>
      <dgm:spPr/>
    </dgm:pt>
    <dgm:pt modelId="{1CD6E8E8-3746-40BA-8004-5CD196B07D5D}" type="pres">
      <dgm:prSet presAssocID="{3FF369E4-AC07-4511-A93E-77F77EAC8799}" presName="composite" presStyleCnt="0"/>
      <dgm:spPr/>
    </dgm:pt>
    <dgm:pt modelId="{D57EE8F2-7574-4E5E-B95E-F06A144BFAEC}" type="pres">
      <dgm:prSet presAssocID="{3FF369E4-AC07-4511-A93E-77F77EAC8799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7DC1C520-021F-4D90-B759-15E131331D5C}" type="pres">
      <dgm:prSet presAssocID="{3FF369E4-AC07-4511-A93E-77F77EAC8799}" presName="desTx" presStyleLbl="alignAccFollowNode1" presStyleIdx="0" presStyleCnt="4">
        <dgm:presLayoutVars>
          <dgm:bulletEnabled val="1"/>
        </dgm:presLayoutVars>
      </dgm:prSet>
      <dgm:spPr/>
    </dgm:pt>
    <dgm:pt modelId="{58EB7D6F-DA2C-4607-A49B-E35B72BAE557}" type="pres">
      <dgm:prSet presAssocID="{CD323735-D181-4962-93E5-AB990E040DF4}" presName="space" presStyleCnt="0"/>
      <dgm:spPr/>
    </dgm:pt>
    <dgm:pt modelId="{5F52D0D0-2DF7-4477-BCF4-10939A144E88}" type="pres">
      <dgm:prSet presAssocID="{4081BEA9-7605-480C-B8B8-28BD4A0F9E56}" presName="composite" presStyleCnt="0"/>
      <dgm:spPr/>
    </dgm:pt>
    <dgm:pt modelId="{B6E8656C-B384-40A5-91A8-1A2F44E9D9EB}" type="pres">
      <dgm:prSet presAssocID="{4081BEA9-7605-480C-B8B8-28BD4A0F9E56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E86382B3-9909-46DE-989C-76CDC3E643E4}" type="pres">
      <dgm:prSet presAssocID="{4081BEA9-7605-480C-B8B8-28BD4A0F9E56}" presName="desTx" presStyleLbl="alignAccFollowNode1" presStyleIdx="1" presStyleCnt="4">
        <dgm:presLayoutVars>
          <dgm:bulletEnabled val="1"/>
        </dgm:presLayoutVars>
      </dgm:prSet>
      <dgm:spPr/>
    </dgm:pt>
    <dgm:pt modelId="{5F6F02F6-DBCF-4453-BCF4-EFB925A9C2AA}" type="pres">
      <dgm:prSet presAssocID="{9F0DF8E4-1AF5-4AFF-8DA9-022B0421B972}" presName="space" presStyleCnt="0"/>
      <dgm:spPr/>
    </dgm:pt>
    <dgm:pt modelId="{C4CAE6FB-7CF8-4F6B-AEA7-3CE6E858D0C7}" type="pres">
      <dgm:prSet presAssocID="{5D91B453-9930-4BE4-8577-4124BA5B7531}" presName="composite" presStyleCnt="0"/>
      <dgm:spPr/>
    </dgm:pt>
    <dgm:pt modelId="{BD53A648-5CF8-4927-B729-5D1BA12745EE}" type="pres">
      <dgm:prSet presAssocID="{5D91B453-9930-4BE4-8577-4124BA5B7531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DB661A0D-81A2-4A7D-B785-7CEC2C3DA53F}" type="pres">
      <dgm:prSet presAssocID="{5D91B453-9930-4BE4-8577-4124BA5B7531}" presName="desTx" presStyleLbl="alignAccFollowNode1" presStyleIdx="2" presStyleCnt="4">
        <dgm:presLayoutVars>
          <dgm:bulletEnabled val="1"/>
        </dgm:presLayoutVars>
      </dgm:prSet>
      <dgm:spPr/>
    </dgm:pt>
    <dgm:pt modelId="{DF96F386-AE7A-4E32-8FE4-24951CCCCC6C}" type="pres">
      <dgm:prSet presAssocID="{E21DEACA-BC14-415D-900B-86469E718613}" presName="space" presStyleCnt="0"/>
      <dgm:spPr/>
    </dgm:pt>
    <dgm:pt modelId="{1D91260E-04A6-45DB-96EC-452C9DA64269}" type="pres">
      <dgm:prSet presAssocID="{273D4A53-FD20-4CE6-B4E9-A69A77DF5818}" presName="composite" presStyleCnt="0"/>
      <dgm:spPr/>
    </dgm:pt>
    <dgm:pt modelId="{15487FAF-3A74-4A3A-9F6D-51368EA05B07}" type="pres">
      <dgm:prSet presAssocID="{273D4A53-FD20-4CE6-B4E9-A69A77DF5818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5456D212-7CC0-4454-95CC-9501AAE8D744}" type="pres">
      <dgm:prSet presAssocID="{273D4A53-FD20-4CE6-B4E9-A69A77DF5818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EC09C400-8D7C-47A1-9151-86114A19791B}" type="presOf" srcId="{14D14315-809B-40D6-AE5F-091A48BCB0E6}" destId="{DB661A0D-81A2-4A7D-B785-7CEC2C3DA53F}" srcOrd="0" destOrd="0" presId="urn:microsoft.com/office/officeart/2005/8/layout/hList1"/>
    <dgm:cxn modelId="{0B45F803-1408-4991-AE7C-FDC13BBE8E79}" srcId="{0183CF39-C5CD-4F98-90A2-A9FEA7FF4DEB}" destId="{4081BEA9-7605-480C-B8B8-28BD4A0F9E56}" srcOrd="1" destOrd="0" parTransId="{D4EA80BE-2EF2-4753-BC5D-9331D7C20DCE}" sibTransId="{9F0DF8E4-1AF5-4AFF-8DA9-022B0421B972}"/>
    <dgm:cxn modelId="{9811E906-915A-4A7B-BC0E-403B2446C72F}" srcId="{273D4A53-FD20-4CE6-B4E9-A69A77DF5818}" destId="{8D93C469-027D-4248-A5D8-4A5F5ABBFC13}" srcOrd="2" destOrd="0" parTransId="{580A0447-6D1C-47B1-B3D9-0BE5A367933C}" sibTransId="{F4A21ABF-57E2-445F-9CE8-CBBB956F9949}"/>
    <dgm:cxn modelId="{D23CF309-A92B-4089-80F9-1024C08E7177}" type="presOf" srcId="{FAE806D2-F298-47BC-9284-E829D3E1646D}" destId="{E86382B3-9909-46DE-989C-76CDC3E643E4}" srcOrd="0" destOrd="3" presId="urn:microsoft.com/office/officeart/2005/8/layout/hList1"/>
    <dgm:cxn modelId="{5A73EF0E-73F2-4A7B-8A26-A50F127EEEBB}" srcId="{5EA190E0-D78C-4056-AD9C-316403338218}" destId="{E55A60FE-7448-4E0E-92AE-0CCF7AC00673}" srcOrd="2" destOrd="0" parTransId="{7E5F26C9-C5AE-493D-AFC2-2CED9D969B71}" sibTransId="{2EED5F8C-4DF8-4454-BB44-0B9497A81084}"/>
    <dgm:cxn modelId="{165C3B11-B2E3-4350-BD13-9C0963870317}" srcId="{5D91B453-9930-4BE4-8577-4124BA5B7531}" destId="{E71BA93B-0744-48AA-BFE9-3F6C1B08D76E}" srcOrd="2" destOrd="0" parTransId="{CC461BCF-22C2-4725-B25C-42D4D426EE08}" sibTransId="{CC31C1D2-B08B-42DA-8417-851AEFF568C7}"/>
    <dgm:cxn modelId="{A0147313-A024-46D0-844D-30E01B945054}" srcId="{4081BEA9-7605-480C-B8B8-28BD4A0F9E56}" destId="{41964B76-E34B-4D6F-8C5F-5F310163E706}" srcOrd="0" destOrd="0" parTransId="{C8020FF9-A8BC-484D-880E-6F0F5397682A}" sibTransId="{A9A54E7B-DCC2-45F3-A5E1-ECB769096419}"/>
    <dgm:cxn modelId="{21CB2118-A41C-4F14-959C-E8C05154D4B7}" type="presOf" srcId="{C3242C99-50C7-4788-BAA2-B8F88F27699B}" destId="{DB661A0D-81A2-4A7D-B785-7CEC2C3DA53F}" srcOrd="0" destOrd="1" presId="urn:microsoft.com/office/officeart/2005/8/layout/hList1"/>
    <dgm:cxn modelId="{A219C91B-35DF-4EB3-B497-C867884AA788}" srcId="{5D91B453-9930-4BE4-8577-4124BA5B7531}" destId="{14D14315-809B-40D6-AE5F-091A48BCB0E6}" srcOrd="0" destOrd="0" parTransId="{68E49C5F-8B11-49DB-9C3E-CF5DBB67BCC7}" sibTransId="{CDD4D6FF-919E-42B8-B6B0-0A361D197733}"/>
    <dgm:cxn modelId="{AC8ADE37-C617-4DCB-95E0-D1A9017D981A}" srcId="{3FF369E4-AC07-4511-A93E-77F77EAC8799}" destId="{5EA190E0-D78C-4056-AD9C-316403338218}" srcOrd="0" destOrd="0" parTransId="{285907C3-97FD-47A5-8D12-B5793B9A42A3}" sibTransId="{FD533361-42EB-4502-AEE5-4D4E3D33F05E}"/>
    <dgm:cxn modelId="{C14DF13C-E398-41CB-8A79-08011C818554}" srcId="{4081BEA9-7605-480C-B8B8-28BD4A0F9E56}" destId="{FE7B0D46-6BB3-4A22-B2FA-C13E63B7DEF9}" srcOrd="2" destOrd="0" parTransId="{637CFAD7-0407-44E9-9594-F47A76DC7422}" sibTransId="{8642C245-B321-4945-877C-D73B76C20847}"/>
    <dgm:cxn modelId="{20D6D33F-C026-4547-B135-0A01D33A2EFC}" srcId="{5D91B453-9930-4BE4-8577-4124BA5B7531}" destId="{C3242C99-50C7-4788-BAA2-B8F88F27699B}" srcOrd="1" destOrd="0" parTransId="{5A99646F-9ED6-447B-B160-F4A56E0CF23A}" sibTransId="{664E3936-3D39-4B98-B3FA-5CA822888540}"/>
    <dgm:cxn modelId="{E5B2B65B-EB5D-40C7-B474-24B7F5D5DEA0}" type="presOf" srcId="{4081BEA9-7605-480C-B8B8-28BD4A0F9E56}" destId="{B6E8656C-B384-40A5-91A8-1A2F44E9D9EB}" srcOrd="0" destOrd="0" presId="urn:microsoft.com/office/officeart/2005/8/layout/hList1"/>
    <dgm:cxn modelId="{1B89CE5C-0076-4AF3-85EE-674DC6661B16}" srcId="{273D4A53-FD20-4CE6-B4E9-A69A77DF5818}" destId="{A5D2F73E-D682-4E59-ABDD-FB32BEA94D37}" srcOrd="1" destOrd="0" parTransId="{B0221F58-42FB-4D81-A23A-4D267EA46108}" sibTransId="{676C57C7-3FED-4895-BAC8-EE7F64F41A80}"/>
    <dgm:cxn modelId="{67448168-1088-45A4-A05B-D18E1BE85907}" srcId="{4081BEA9-7605-480C-B8B8-28BD4A0F9E56}" destId="{F41EBEE8-64AD-4B37-A69B-9AFB90DEF33B}" srcOrd="1" destOrd="0" parTransId="{8DD6EB09-273D-4C4E-940A-FF85C9AAF63F}" sibTransId="{8EDEE2CC-1EEF-4D84-AE37-B8C75F5E5307}"/>
    <dgm:cxn modelId="{25B1504B-1663-4545-95A9-54E65AB338E4}" type="presOf" srcId="{0183CF39-C5CD-4F98-90A2-A9FEA7FF4DEB}" destId="{0CE13F5C-18D2-422E-9DB8-B8C6803AAC7B}" srcOrd="0" destOrd="0" presId="urn:microsoft.com/office/officeart/2005/8/layout/hList1"/>
    <dgm:cxn modelId="{915ADF4C-E888-443D-81C8-FC176BDAADC9}" type="presOf" srcId="{FE7B0D46-6BB3-4A22-B2FA-C13E63B7DEF9}" destId="{E86382B3-9909-46DE-989C-76CDC3E643E4}" srcOrd="0" destOrd="2" presId="urn:microsoft.com/office/officeart/2005/8/layout/hList1"/>
    <dgm:cxn modelId="{F4326275-DB00-4E48-B61C-6A93A4F76680}" type="presOf" srcId="{8D93C469-027D-4248-A5D8-4A5F5ABBFC13}" destId="{5456D212-7CC0-4454-95CC-9501AAE8D744}" srcOrd="0" destOrd="2" presId="urn:microsoft.com/office/officeart/2005/8/layout/hList1"/>
    <dgm:cxn modelId="{C2047C75-7B4A-47BE-924B-EA32C9E0AC6A}" srcId="{0183CF39-C5CD-4F98-90A2-A9FEA7FF4DEB}" destId="{3FF369E4-AC07-4511-A93E-77F77EAC8799}" srcOrd="0" destOrd="0" parTransId="{513F7D0A-E986-4935-8E16-8E480E711870}" sibTransId="{CD323735-D181-4962-93E5-AB990E040DF4}"/>
    <dgm:cxn modelId="{DD8DCC56-5A57-447E-9FAD-DF8621CB3140}" type="presOf" srcId="{E4BBDE64-2D3A-4A36-9742-CF9F2E6FB7D2}" destId="{7DC1C520-021F-4D90-B759-15E131331D5C}" srcOrd="0" destOrd="5" presId="urn:microsoft.com/office/officeart/2005/8/layout/hList1"/>
    <dgm:cxn modelId="{83E68977-3A2A-4DC8-B3C7-E7DC9D365469}" srcId="{4081BEA9-7605-480C-B8B8-28BD4A0F9E56}" destId="{A1205DD6-7451-4367-9432-8C5EC22A3B1D}" srcOrd="4" destOrd="0" parTransId="{561AA78A-3A09-4097-9BEF-9307EFD07D93}" sibTransId="{76A60A05-0FC8-439B-BE6C-037D5C261225}"/>
    <dgm:cxn modelId="{19BAA179-57C4-4ADD-A14E-F0D8C77F986C}" srcId="{5EA190E0-D78C-4056-AD9C-316403338218}" destId="{CB3D9CDF-C131-442D-B67E-AB5C1D1F5BD1}" srcOrd="3" destOrd="0" parTransId="{5DF7DA63-2055-495F-B7E4-522142983592}" sibTransId="{A3313BAB-E4B4-4A9E-983A-F91BB36BEA27}"/>
    <dgm:cxn modelId="{8230777B-0457-4C4C-9D34-22827A47225C}" type="presOf" srcId="{CBADCF36-8786-4B19-8AA2-5728662563BB}" destId="{5456D212-7CC0-4454-95CC-9501AAE8D744}" srcOrd="0" destOrd="0" presId="urn:microsoft.com/office/officeart/2005/8/layout/hList1"/>
    <dgm:cxn modelId="{F9B1A27C-D1A2-45B1-8BBC-DDE4BC2536CC}" srcId="{5D91B453-9930-4BE4-8577-4124BA5B7531}" destId="{E4DFDA1F-06EF-409D-A8C8-C6A453DA6FE8}" srcOrd="3" destOrd="0" parTransId="{7E6283FE-0C00-494B-8D61-4D5B7078E2D4}" sibTransId="{BB6B02F3-26EA-4FBB-B73B-333CFF7EECA0}"/>
    <dgm:cxn modelId="{134C757F-70F5-4160-A4D9-442E391BBDB7}" type="presOf" srcId="{1928EAFD-621B-41DD-8F9F-593A90141DAC}" destId="{7DC1C520-021F-4D90-B759-15E131331D5C}" srcOrd="0" destOrd="2" presId="urn:microsoft.com/office/officeart/2005/8/layout/hList1"/>
    <dgm:cxn modelId="{483D188A-979F-4141-8A9F-A27113B0D95F}" srcId="{4081BEA9-7605-480C-B8B8-28BD4A0F9E56}" destId="{FAE806D2-F298-47BC-9284-E829D3E1646D}" srcOrd="3" destOrd="0" parTransId="{82EDCFC3-B5E8-4FAF-A3D1-67BB536D5252}" sibTransId="{E4B2753A-B176-42BF-8A05-79923D0D6403}"/>
    <dgm:cxn modelId="{826BC78D-537B-47C0-A7E6-B191D55E6C20}" srcId="{0183CF39-C5CD-4F98-90A2-A9FEA7FF4DEB}" destId="{5D91B453-9930-4BE4-8577-4124BA5B7531}" srcOrd="2" destOrd="0" parTransId="{7BAAA704-9B2C-4BB3-950C-84EE96C22B9C}" sibTransId="{E21DEACA-BC14-415D-900B-86469E718613}"/>
    <dgm:cxn modelId="{C1583996-726E-4AC1-925E-49462D0E4B34}" type="presOf" srcId="{273D4A53-FD20-4CE6-B4E9-A69A77DF5818}" destId="{15487FAF-3A74-4A3A-9F6D-51368EA05B07}" srcOrd="0" destOrd="0" presId="urn:microsoft.com/office/officeart/2005/8/layout/hList1"/>
    <dgm:cxn modelId="{3DF46398-8D9E-4BD6-AA4A-2D7C7AE71D5E}" type="presOf" srcId="{E71BA93B-0744-48AA-BFE9-3F6C1B08D76E}" destId="{DB661A0D-81A2-4A7D-B785-7CEC2C3DA53F}" srcOrd="0" destOrd="2" presId="urn:microsoft.com/office/officeart/2005/8/layout/hList1"/>
    <dgm:cxn modelId="{E3E712A0-EE21-4A98-A778-E50E56BF1CC5}" type="presOf" srcId="{C497C68E-25AA-42C3-8999-68CAB7888E51}" destId="{7DC1C520-021F-4D90-B759-15E131331D5C}" srcOrd="0" destOrd="1" presId="urn:microsoft.com/office/officeart/2005/8/layout/hList1"/>
    <dgm:cxn modelId="{F78528A2-9752-4F82-9BE6-4E216A7496B4}" type="presOf" srcId="{E4DFDA1F-06EF-409D-A8C8-C6A453DA6FE8}" destId="{DB661A0D-81A2-4A7D-B785-7CEC2C3DA53F}" srcOrd="0" destOrd="3" presId="urn:microsoft.com/office/officeart/2005/8/layout/hList1"/>
    <dgm:cxn modelId="{C0F02AA6-F14F-4F4D-8F0D-BF16D12D5441}" srcId="{3FF369E4-AC07-4511-A93E-77F77EAC8799}" destId="{E4BBDE64-2D3A-4A36-9742-CF9F2E6FB7D2}" srcOrd="1" destOrd="0" parTransId="{606226D9-F23F-46E9-B18B-3D23644AD611}" sibTransId="{8E412BE1-E260-4AE2-8D7E-4EB20FD0A4AC}"/>
    <dgm:cxn modelId="{D12A63A7-6689-42D1-A2D8-41FEB1901540}" srcId="{5EA190E0-D78C-4056-AD9C-316403338218}" destId="{C497C68E-25AA-42C3-8999-68CAB7888E51}" srcOrd="0" destOrd="0" parTransId="{0FE4D213-0B6B-435E-B7CD-CB6C1B591217}" sibTransId="{B1CD778F-BDB9-4A37-A549-29826E03106C}"/>
    <dgm:cxn modelId="{310DB6A9-8CB7-492F-8D58-85090AB582F2}" srcId="{0183CF39-C5CD-4F98-90A2-A9FEA7FF4DEB}" destId="{273D4A53-FD20-4CE6-B4E9-A69A77DF5818}" srcOrd="3" destOrd="0" parTransId="{7BB346C9-DF8E-41A0-A88F-CE3557882FAB}" sibTransId="{451EADCE-3048-4B20-8653-BE5BE4315441}"/>
    <dgm:cxn modelId="{63A006AD-F052-4505-A17E-54C58894E917}" type="presOf" srcId="{3FF369E4-AC07-4511-A93E-77F77EAC8799}" destId="{D57EE8F2-7574-4E5E-B95E-F06A144BFAEC}" srcOrd="0" destOrd="0" presId="urn:microsoft.com/office/officeart/2005/8/layout/hList1"/>
    <dgm:cxn modelId="{3E9EE8B0-5097-4A5E-A1C9-6EAB02B5811B}" type="presOf" srcId="{5EA190E0-D78C-4056-AD9C-316403338218}" destId="{7DC1C520-021F-4D90-B759-15E131331D5C}" srcOrd="0" destOrd="0" presId="urn:microsoft.com/office/officeart/2005/8/layout/hList1"/>
    <dgm:cxn modelId="{006D34C7-2635-4193-AB07-5E1E780C6828}" type="presOf" srcId="{41964B76-E34B-4D6F-8C5F-5F310163E706}" destId="{E86382B3-9909-46DE-989C-76CDC3E643E4}" srcOrd="0" destOrd="0" presId="urn:microsoft.com/office/officeart/2005/8/layout/hList1"/>
    <dgm:cxn modelId="{9028FACA-5532-4377-9B04-3C1DDF349B14}" type="presOf" srcId="{A1205DD6-7451-4367-9432-8C5EC22A3B1D}" destId="{E86382B3-9909-46DE-989C-76CDC3E643E4}" srcOrd="0" destOrd="4" presId="urn:microsoft.com/office/officeart/2005/8/layout/hList1"/>
    <dgm:cxn modelId="{0BE80CD2-A855-41BC-9C2F-C2CC99E3A8D8}" type="presOf" srcId="{C44269AD-7D31-4D6A-AB7C-769A31C25130}" destId="{5456D212-7CC0-4454-95CC-9501AAE8D744}" srcOrd="0" destOrd="3" presId="urn:microsoft.com/office/officeart/2005/8/layout/hList1"/>
    <dgm:cxn modelId="{489EAAD2-2AD8-44CB-ABF1-034AB02E4ABC}" srcId="{5EA190E0-D78C-4056-AD9C-316403338218}" destId="{1928EAFD-621B-41DD-8F9F-593A90141DAC}" srcOrd="1" destOrd="0" parTransId="{D7EB0B28-A03B-463E-856C-AFE8E909F51E}" sibTransId="{2EA24A5A-4D95-48F9-A1B8-2090D9CBCB7D}"/>
    <dgm:cxn modelId="{0D1D4FD8-0D17-41B0-9FDA-7CB2718F90DD}" type="presOf" srcId="{E55A60FE-7448-4E0E-92AE-0CCF7AC00673}" destId="{7DC1C520-021F-4D90-B759-15E131331D5C}" srcOrd="0" destOrd="3" presId="urn:microsoft.com/office/officeart/2005/8/layout/hList1"/>
    <dgm:cxn modelId="{DC1E0FE5-CF9B-49FE-ACCF-06D77733F219}" type="presOf" srcId="{F41EBEE8-64AD-4B37-A69B-9AFB90DEF33B}" destId="{E86382B3-9909-46DE-989C-76CDC3E643E4}" srcOrd="0" destOrd="1" presId="urn:microsoft.com/office/officeart/2005/8/layout/hList1"/>
    <dgm:cxn modelId="{3E1EC0E5-23C0-4297-B48C-F38725AB15CF}" srcId="{273D4A53-FD20-4CE6-B4E9-A69A77DF5818}" destId="{CBADCF36-8786-4B19-8AA2-5728662563BB}" srcOrd="0" destOrd="0" parTransId="{8D99A0B4-16EF-446F-9DFB-AACB1507CBC0}" sibTransId="{FD59209D-F7BD-4A48-B664-20C63650EA65}"/>
    <dgm:cxn modelId="{0BE01AF3-E1A3-4809-BA66-983F2DC5BD2A}" type="presOf" srcId="{A5D2F73E-D682-4E59-ABDD-FB32BEA94D37}" destId="{5456D212-7CC0-4454-95CC-9501AAE8D744}" srcOrd="0" destOrd="1" presId="urn:microsoft.com/office/officeart/2005/8/layout/hList1"/>
    <dgm:cxn modelId="{AC3A3AF7-5A0B-4FC8-8A67-D5AAA39B7B21}" srcId="{273D4A53-FD20-4CE6-B4E9-A69A77DF5818}" destId="{C44269AD-7D31-4D6A-AB7C-769A31C25130}" srcOrd="3" destOrd="0" parTransId="{6F9AF07B-353C-4CF3-8F81-2212F494A071}" sibTransId="{F6BD0D93-7CB2-49A9-A598-4F80CD85794B}"/>
    <dgm:cxn modelId="{0EA5A6F8-E333-4CF6-926B-0CB741FD5217}" type="presOf" srcId="{5D91B453-9930-4BE4-8577-4124BA5B7531}" destId="{BD53A648-5CF8-4927-B729-5D1BA12745EE}" srcOrd="0" destOrd="0" presId="urn:microsoft.com/office/officeart/2005/8/layout/hList1"/>
    <dgm:cxn modelId="{377D3FFE-6E73-49F4-9114-6881ADF77741}" type="presOf" srcId="{CB3D9CDF-C131-442D-B67E-AB5C1D1F5BD1}" destId="{7DC1C520-021F-4D90-B759-15E131331D5C}" srcOrd="0" destOrd="4" presId="urn:microsoft.com/office/officeart/2005/8/layout/hList1"/>
    <dgm:cxn modelId="{4D1508C7-1970-4A35-96A5-8FE9D24848FF}" type="presParOf" srcId="{0CE13F5C-18D2-422E-9DB8-B8C6803AAC7B}" destId="{1CD6E8E8-3746-40BA-8004-5CD196B07D5D}" srcOrd="0" destOrd="0" presId="urn:microsoft.com/office/officeart/2005/8/layout/hList1"/>
    <dgm:cxn modelId="{1A9FC527-B5BD-460C-B381-6A98CF1DA8AF}" type="presParOf" srcId="{1CD6E8E8-3746-40BA-8004-5CD196B07D5D}" destId="{D57EE8F2-7574-4E5E-B95E-F06A144BFAEC}" srcOrd="0" destOrd="0" presId="urn:microsoft.com/office/officeart/2005/8/layout/hList1"/>
    <dgm:cxn modelId="{8BE91F7A-AC70-411B-991D-8B9B5A7EF3E0}" type="presParOf" srcId="{1CD6E8E8-3746-40BA-8004-5CD196B07D5D}" destId="{7DC1C520-021F-4D90-B759-15E131331D5C}" srcOrd="1" destOrd="0" presId="urn:microsoft.com/office/officeart/2005/8/layout/hList1"/>
    <dgm:cxn modelId="{DDBD3059-E162-44CE-A6E1-4CB48C8FF9C9}" type="presParOf" srcId="{0CE13F5C-18D2-422E-9DB8-B8C6803AAC7B}" destId="{58EB7D6F-DA2C-4607-A49B-E35B72BAE557}" srcOrd="1" destOrd="0" presId="urn:microsoft.com/office/officeart/2005/8/layout/hList1"/>
    <dgm:cxn modelId="{112795C5-B0CB-4C9F-BA88-26C632E10567}" type="presParOf" srcId="{0CE13F5C-18D2-422E-9DB8-B8C6803AAC7B}" destId="{5F52D0D0-2DF7-4477-BCF4-10939A144E88}" srcOrd="2" destOrd="0" presId="urn:microsoft.com/office/officeart/2005/8/layout/hList1"/>
    <dgm:cxn modelId="{711487BA-70AD-4681-92EA-3066E9D1D36B}" type="presParOf" srcId="{5F52D0D0-2DF7-4477-BCF4-10939A144E88}" destId="{B6E8656C-B384-40A5-91A8-1A2F44E9D9EB}" srcOrd="0" destOrd="0" presId="urn:microsoft.com/office/officeart/2005/8/layout/hList1"/>
    <dgm:cxn modelId="{066BCE61-7B0B-4E33-84B6-113DC9E2EB87}" type="presParOf" srcId="{5F52D0D0-2DF7-4477-BCF4-10939A144E88}" destId="{E86382B3-9909-46DE-989C-76CDC3E643E4}" srcOrd="1" destOrd="0" presId="urn:microsoft.com/office/officeart/2005/8/layout/hList1"/>
    <dgm:cxn modelId="{142D5254-2678-4347-8689-F91F84D410F6}" type="presParOf" srcId="{0CE13F5C-18D2-422E-9DB8-B8C6803AAC7B}" destId="{5F6F02F6-DBCF-4453-BCF4-EFB925A9C2AA}" srcOrd="3" destOrd="0" presId="urn:microsoft.com/office/officeart/2005/8/layout/hList1"/>
    <dgm:cxn modelId="{B34F0BC5-A217-4CCB-9B63-E52DB64EAD53}" type="presParOf" srcId="{0CE13F5C-18D2-422E-9DB8-B8C6803AAC7B}" destId="{C4CAE6FB-7CF8-4F6B-AEA7-3CE6E858D0C7}" srcOrd="4" destOrd="0" presId="urn:microsoft.com/office/officeart/2005/8/layout/hList1"/>
    <dgm:cxn modelId="{FAFA5E43-A383-4FE5-8E51-9FC37FB9E9EA}" type="presParOf" srcId="{C4CAE6FB-7CF8-4F6B-AEA7-3CE6E858D0C7}" destId="{BD53A648-5CF8-4927-B729-5D1BA12745EE}" srcOrd="0" destOrd="0" presId="urn:microsoft.com/office/officeart/2005/8/layout/hList1"/>
    <dgm:cxn modelId="{C610C1BE-C52C-450A-9EF5-6269F56677E9}" type="presParOf" srcId="{C4CAE6FB-7CF8-4F6B-AEA7-3CE6E858D0C7}" destId="{DB661A0D-81A2-4A7D-B785-7CEC2C3DA53F}" srcOrd="1" destOrd="0" presId="urn:microsoft.com/office/officeart/2005/8/layout/hList1"/>
    <dgm:cxn modelId="{3547B3E2-4979-4709-933F-C73A13432B16}" type="presParOf" srcId="{0CE13F5C-18D2-422E-9DB8-B8C6803AAC7B}" destId="{DF96F386-AE7A-4E32-8FE4-24951CCCCC6C}" srcOrd="5" destOrd="0" presId="urn:microsoft.com/office/officeart/2005/8/layout/hList1"/>
    <dgm:cxn modelId="{D3233E5C-C37A-45DD-A744-D3DF99A601E2}" type="presParOf" srcId="{0CE13F5C-18D2-422E-9DB8-B8C6803AAC7B}" destId="{1D91260E-04A6-45DB-96EC-452C9DA64269}" srcOrd="6" destOrd="0" presId="urn:microsoft.com/office/officeart/2005/8/layout/hList1"/>
    <dgm:cxn modelId="{4F56CB78-66DC-42AD-BF44-FD287113A25A}" type="presParOf" srcId="{1D91260E-04A6-45DB-96EC-452C9DA64269}" destId="{15487FAF-3A74-4A3A-9F6D-51368EA05B07}" srcOrd="0" destOrd="0" presId="urn:microsoft.com/office/officeart/2005/8/layout/hList1"/>
    <dgm:cxn modelId="{82FC5CD7-FCAC-477B-86B7-BF57F611BD70}" type="presParOf" srcId="{1D91260E-04A6-45DB-96EC-452C9DA64269}" destId="{5456D212-7CC0-4454-95CC-9501AAE8D74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7EE8F2-7574-4E5E-B95E-F06A144BFAEC}">
      <dsp:nvSpPr>
        <dsp:cNvPr id="0" name=""/>
        <dsp:cNvSpPr/>
      </dsp:nvSpPr>
      <dsp:spPr>
        <a:xfrm>
          <a:off x="4088" y="703311"/>
          <a:ext cx="2458415" cy="915215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150000"/>
            </a:lnSpc>
            <a:spcBef>
              <a:spcPct val="0"/>
            </a:spcBef>
            <a:spcAft>
              <a:spcPct val="35000"/>
            </a:spcAft>
            <a:buFont typeface="Calibri"/>
            <a:buNone/>
          </a:pPr>
          <a:r>
            <a:rPr lang="en-US" sz="1900" b="1" kern="1200">
              <a:cs typeface="Arial"/>
            </a:rPr>
            <a:t>Momentum Data Discovery</a:t>
          </a:r>
          <a:endParaRPr lang="en-GB" sz="1900" kern="1200"/>
        </a:p>
      </dsp:txBody>
      <dsp:txXfrm>
        <a:off x="4088" y="703311"/>
        <a:ext cx="2458415" cy="915215"/>
      </dsp:txXfrm>
    </dsp:sp>
    <dsp:sp modelId="{7DC1C520-021F-4D90-B759-15E131331D5C}">
      <dsp:nvSpPr>
        <dsp:cNvPr id="0" name=""/>
        <dsp:cNvSpPr/>
      </dsp:nvSpPr>
      <dsp:spPr>
        <a:xfrm>
          <a:off x="4088" y="1618526"/>
          <a:ext cx="2458415" cy="2816369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Audit all data capture </a:t>
          </a:r>
          <a:r>
            <a:rPr lang="en-US" sz="1400" kern="1200">
              <a:latin typeface="Arial" panose="020B0604020202020204"/>
              <a:cs typeface="Arial"/>
            </a:rPr>
            <a:t>by</a:t>
          </a:r>
          <a:r>
            <a:rPr lang="en-US" sz="1400" kern="1200">
              <a:cs typeface="Arial"/>
            </a:rPr>
            <a:t> the client team</a:t>
          </a:r>
        </a:p>
        <a:p>
          <a:pPr marL="228600" lvl="2" indent="-114300" algn="l" defTabSz="622300" rtl="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>
              <a:cs typeface="Arial"/>
            </a:rPr>
            <a:t>What do we have?</a:t>
          </a:r>
          <a:r>
            <a:rPr lang="en-US" sz="1400" i="1" kern="1200">
              <a:latin typeface="Arial" panose="020B0604020202020204"/>
              <a:cs typeface="Arial"/>
            </a:rPr>
            <a:t> </a:t>
          </a:r>
        </a:p>
        <a:p>
          <a:pPr marL="228600" lvl="2" indent="-114300" algn="l" defTabSz="622300" rtl="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>
              <a:cs typeface="Arial"/>
            </a:rPr>
            <a:t>What is the source?</a:t>
          </a:r>
          <a:r>
            <a:rPr lang="en-US" sz="1400" i="1" kern="1200">
              <a:latin typeface="Arial" panose="020B0604020202020204"/>
              <a:cs typeface="Arial"/>
            </a:rPr>
            <a:t> </a:t>
          </a:r>
          <a:endParaRPr lang="en-US" sz="1400" i="1" kern="1200">
            <a:cs typeface="Arial"/>
          </a:endParaRPr>
        </a:p>
        <a:p>
          <a:pPr marL="228600" lvl="2" indent="-114300" algn="l" defTabSz="622300" rtl="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>
              <a:cs typeface="Arial"/>
            </a:rPr>
            <a:t>What is the cadence?</a:t>
          </a:r>
          <a:r>
            <a:rPr lang="en-US" sz="1400" i="1" kern="1200">
              <a:latin typeface="Arial" panose="020B0604020202020204"/>
              <a:cs typeface="Arial"/>
            </a:rPr>
            <a:t> </a:t>
          </a:r>
          <a:endParaRPr lang="en-US" sz="1400" i="1" kern="1200">
            <a:cs typeface="Arial"/>
          </a:endParaRPr>
        </a:p>
        <a:p>
          <a:pPr marL="228600" lvl="2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>
              <a:cs typeface="Arial"/>
            </a:rPr>
            <a:t>What is captured manually by a field team?</a:t>
          </a:r>
        </a:p>
        <a:p>
          <a:pPr marL="2286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>
            <a:cs typeface="Arial"/>
          </a:endParaRPr>
        </a:p>
      </dsp:txBody>
      <dsp:txXfrm>
        <a:off x="4088" y="1618526"/>
        <a:ext cx="2458415" cy="2816369"/>
      </dsp:txXfrm>
    </dsp:sp>
    <dsp:sp modelId="{B6E8656C-B384-40A5-91A8-1A2F44E9D9EB}">
      <dsp:nvSpPr>
        <dsp:cNvPr id="0" name=""/>
        <dsp:cNvSpPr/>
      </dsp:nvSpPr>
      <dsp:spPr>
        <a:xfrm>
          <a:off x="2806682" y="703311"/>
          <a:ext cx="2458415" cy="915215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-13333"/>
          </a:schemeClr>
        </a:solidFill>
        <a:ln w="12700" cap="flat" cmpd="sng" algn="ctr">
          <a:solidFill>
            <a:schemeClr val="accent2">
              <a:alpha val="90000"/>
              <a:hueOff val="0"/>
              <a:satOff val="0"/>
              <a:lumOff val="0"/>
              <a:alphaOff val="-13333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>
              <a:cs typeface="Arial"/>
            </a:rPr>
            <a:t>Technical Discovery UED</a:t>
          </a:r>
        </a:p>
      </dsp:txBody>
      <dsp:txXfrm>
        <a:off x="2806682" y="703311"/>
        <a:ext cx="2458415" cy="915215"/>
      </dsp:txXfrm>
    </dsp:sp>
    <dsp:sp modelId="{E86382B3-9909-46DE-989C-76CDC3E643E4}">
      <dsp:nvSpPr>
        <dsp:cNvPr id="0" name=""/>
        <dsp:cNvSpPr/>
      </dsp:nvSpPr>
      <dsp:spPr>
        <a:xfrm>
          <a:off x="2806682" y="1618526"/>
          <a:ext cx="2458415" cy="2816369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Detailed requirements document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High-level solution architecture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API definitions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DB design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Front-end Mockup</a:t>
          </a:r>
          <a:br>
            <a:rPr lang="en-US" sz="2000" kern="1200">
              <a:cs typeface="Arial"/>
            </a:rPr>
          </a:br>
          <a:endParaRPr lang="en-US" sz="2000" kern="1200"/>
        </a:p>
      </dsp:txBody>
      <dsp:txXfrm>
        <a:off x="2806682" y="1618526"/>
        <a:ext cx="2458415" cy="2816369"/>
      </dsp:txXfrm>
    </dsp:sp>
    <dsp:sp modelId="{BD53A648-5CF8-4927-B729-5D1BA12745EE}">
      <dsp:nvSpPr>
        <dsp:cNvPr id="0" name=""/>
        <dsp:cNvSpPr/>
      </dsp:nvSpPr>
      <dsp:spPr>
        <a:xfrm>
          <a:off x="5609276" y="703311"/>
          <a:ext cx="2458415" cy="915215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-26667"/>
          </a:schemeClr>
        </a:solidFill>
        <a:ln w="12700" cap="flat" cmpd="sng" algn="ctr">
          <a:solidFill>
            <a:schemeClr val="accent2">
              <a:alpha val="90000"/>
              <a:hueOff val="0"/>
              <a:satOff val="0"/>
              <a:lumOff val="0"/>
              <a:alphaOff val="-26667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>
              <a:cs typeface="Arial"/>
            </a:rPr>
            <a:t>Field Management: </a:t>
          </a:r>
          <a:r>
            <a:rPr lang="en-US" sz="1900" b="1" kern="1200" err="1">
              <a:cs typeface="Arial"/>
            </a:rPr>
            <a:t>BrandScopic</a:t>
          </a:r>
          <a:endParaRPr lang="en-US" sz="1900" b="1" kern="1200">
            <a:cs typeface="Arial"/>
          </a:endParaRPr>
        </a:p>
      </dsp:txBody>
      <dsp:txXfrm>
        <a:off x="5609276" y="703311"/>
        <a:ext cx="2458415" cy="915215"/>
      </dsp:txXfrm>
    </dsp:sp>
    <dsp:sp modelId="{DB661A0D-81A2-4A7D-B785-7CEC2C3DA53F}">
      <dsp:nvSpPr>
        <dsp:cNvPr id="0" name=""/>
        <dsp:cNvSpPr/>
      </dsp:nvSpPr>
      <dsp:spPr>
        <a:xfrm>
          <a:off x="5609276" y="1618526"/>
          <a:ext cx="2458415" cy="2816369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Vendor Set Up, security &amp; sign SOW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Design a deployment plan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Process and training material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Load test use case</a:t>
          </a:r>
          <a:endParaRPr lang="en-US" sz="2000" kern="1200">
            <a:cs typeface="Arial"/>
          </a:endParaRPr>
        </a:p>
      </dsp:txBody>
      <dsp:txXfrm>
        <a:off x="5609276" y="1618526"/>
        <a:ext cx="2458415" cy="2816369"/>
      </dsp:txXfrm>
    </dsp:sp>
    <dsp:sp modelId="{15487FAF-3A74-4A3A-9F6D-51368EA05B07}">
      <dsp:nvSpPr>
        <dsp:cNvPr id="0" name=""/>
        <dsp:cNvSpPr/>
      </dsp:nvSpPr>
      <dsp:spPr>
        <a:xfrm>
          <a:off x="8411870" y="703311"/>
          <a:ext cx="2458415" cy="915215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12700" cap="flat" cmpd="sng" algn="ctr">
          <a:solidFill>
            <a:schemeClr val="accent2">
              <a:alpha val="90000"/>
              <a:hueOff val="0"/>
              <a:satOff val="0"/>
              <a:lumOff val="0"/>
              <a:alphaOff val="-4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>
              <a:cs typeface="Arial"/>
            </a:rPr>
            <a:t>Placer POC</a:t>
          </a:r>
        </a:p>
      </dsp:txBody>
      <dsp:txXfrm>
        <a:off x="8411870" y="703311"/>
        <a:ext cx="2458415" cy="915215"/>
      </dsp:txXfrm>
    </dsp:sp>
    <dsp:sp modelId="{5456D212-7CC0-4454-95CC-9501AAE8D744}">
      <dsp:nvSpPr>
        <dsp:cNvPr id="0" name=""/>
        <dsp:cNvSpPr/>
      </dsp:nvSpPr>
      <dsp:spPr>
        <a:xfrm>
          <a:off x="8411870" y="1618526"/>
          <a:ext cx="2458415" cy="2816369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Data extraction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API design calculating the number of calls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Document insights gathered</a:t>
          </a:r>
        </a:p>
        <a:p>
          <a:pPr marL="2286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>
            <a:cs typeface="Arial"/>
          </a:endParaRPr>
        </a:p>
      </dsp:txBody>
      <dsp:txXfrm>
        <a:off x="8411870" y="1618526"/>
        <a:ext cx="2458415" cy="28163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36C474-882B-405D-9169-497650CE1AB5}" type="datetimeFigureOut">
              <a:t>3/1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250C43-2BBB-44D3-A675-B92BD312D20E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933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FA7044-A491-4002-88E0-09C4D79F77A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83318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5.wdp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3.wdp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4.wdp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01A83-F891-454C-BF65-BCAD19EED3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9100" y="495300"/>
            <a:ext cx="10858500" cy="5867400"/>
          </a:xfrm>
        </p:spPr>
        <p:txBody>
          <a:bodyPr lIns="0" tIns="0" rIns="0" bIns="0" anchor="ctr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CHANGE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D2C376-36AE-444A-9944-7227E33ECC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5470892"/>
            <a:ext cx="10858500" cy="472708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PRESENTATION DATE</a:t>
            </a:r>
          </a:p>
        </p:txBody>
      </p:sp>
      <p:sp>
        <p:nvSpPr>
          <p:cNvPr id="9" name="Google Shape;135;p29">
            <a:extLst>
              <a:ext uri="{FF2B5EF4-FFF2-40B4-BE49-F238E27FC236}">
                <a16:creationId xmlns:a16="http://schemas.microsoft.com/office/drawing/2014/main" id="{1AB9DE18-1767-C14D-BE3D-83A6E79FEBC2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0" name="Google Shape;136;p29">
            <a:extLst>
              <a:ext uri="{FF2B5EF4-FFF2-40B4-BE49-F238E27FC236}">
                <a16:creationId xmlns:a16="http://schemas.microsoft.com/office/drawing/2014/main" id="{4064A1A0-03C8-3547-849B-2E1665C62821}"/>
              </a:ext>
            </a:extLst>
          </p:cNvPr>
          <p:cNvPicPr preferRelativeResize="0"/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565" y="235381"/>
            <a:ext cx="913550" cy="117463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246;p40">
            <a:extLst>
              <a:ext uri="{FF2B5EF4-FFF2-40B4-BE49-F238E27FC236}">
                <a16:creationId xmlns:a16="http://schemas.microsoft.com/office/drawing/2014/main" id="{67EFE748-6B10-8B42-9BE5-22BF040B63A3}"/>
              </a:ext>
            </a:extLst>
          </p:cNvPr>
          <p:cNvPicPr preferRelativeResize="0"/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131;p29">
            <a:extLst>
              <a:ext uri="{FF2B5EF4-FFF2-40B4-BE49-F238E27FC236}">
                <a16:creationId xmlns:a16="http://schemas.microsoft.com/office/drawing/2014/main" id="{F8184673-9D26-974D-97C1-CB71391F4DA5}"/>
              </a:ext>
            </a:extLst>
          </p:cNvPr>
          <p:cNvPicPr preferRelativeResize="0"/>
          <p:nvPr userDrawn="1"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791701" y="2476502"/>
            <a:ext cx="4381498" cy="4190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8362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ED602-E314-A946-9574-9E4B113AC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0" y="502785"/>
            <a:ext cx="11353800" cy="5864256"/>
          </a:xfrm>
        </p:spPr>
        <p:txBody>
          <a:bodyPr lIns="0" tIns="0" rIns="0" bIns="0" anchor="ctr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OVER RED</a:t>
            </a:r>
          </a:p>
        </p:txBody>
      </p:sp>
      <p:sp>
        <p:nvSpPr>
          <p:cNvPr id="8" name="Google Shape;135;p29">
            <a:extLst>
              <a:ext uri="{FF2B5EF4-FFF2-40B4-BE49-F238E27FC236}">
                <a16:creationId xmlns:a16="http://schemas.microsoft.com/office/drawing/2014/main" id="{B5322F6A-B753-B345-B06B-30A15290EC5C}"/>
              </a:ext>
            </a:extLst>
          </p:cNvPr>
          <p:cNvSpPr txBox="1"/>
          <p:nvPr userDrawn="1"/>
        </p:nvSpPr>
        <p:spPr>
          <a:xfrm>
            <a:off x="419100" y="6342976"/>
            <a:ext cx="3666875" cy="499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0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EEEC9-5554-964E-A3DA-B9C1880B7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oogle Shape;61;p15">
            <a:extLst>
              <a:ext uri="{FF2B5EF4-FFF2-40B4-BE49-F238E27FC236}">
                <a16:creationId xmlns:a16="http://schemas.microsoft.com/office/drawing/2014/main" id="{0E8B56F7-1C16-C344-82B3-8596DE309345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31;p29">
            <a:extLst>
              <a:ext uri="{FF2B5EF4-FFF2-40B4-BE49-F238E27FC236}">
                <a16:creationId xmlns:a16="http://schemas.microsoft.com/office/drawing/2014/main" id="{098D513B-14E7-0447-8E60-640A118ECA34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D473EB0-4327-674B-9398-FF1D2067639F}"/>
              </a:ext>
            </a:extLst>
          </p:cNvPr>
          <p:cNvSpPr/>
          <p:nvPr userDrawn="1"/>
        </p:nvSpPr>
        <p:spPr>
          <a:xfrm>
            <a:off x="-14918" y="7503812"/>
            <a:ext cx="12192000" cy="2031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statement slides make long presentations easier to follow, serving as visual breaks in your presentation.</a:t>
            </a:r>
          </a:p>
        </p:txBody>
      </p:sp>
    </p:spTree>
    <p:extLst>
      <p:ext uri="{BB962C8B-B14F-4D97-AF65-F5344CB8AC3E}">
        <p14:creationId xmlns:p14="http://schemas.microsoft.com/office/powerpoint/2010/main" val="9667544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ED602-E314-A946-9574-9E4B113AC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0" y="502785"/>
            <a:ext cx="11353800" cy="5859916"/>
          </a:xfrm>
        </p:spPr>
        <p:txBody>
          <a:bodyPr lIns="0" tIns="0" rIns="0" bIns="0" anchor="ctr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OVER BLACK</a:t>
            </a:r>
          </a:p>
        </p:txBody>
      </p:sp>
      <p:sp>
        <p:nvSpPr>
          <p:cNvPr id="8" name="Google Shape;135;p29">
            <a:extLst>
              <a:ext uri="{FF2B5EF4-FFF2-40B4-BE49-F238E27FC236}">
                <a16:creationId xmlns:a16="http://schemas.microsoft.com/office/drawing/2014/main" id="{B5322F6A-B753-B345-B06B-30A15290EC5C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EEEC9-5554-964E-A3DA-B9C1880B7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oogle Shape;246;p40">
            <a:extLst>
              <a:ext uri="{FF2B5EF4-FFF2-40B4-BE49-F238E27FC236}">
                <a16:creationId xmlns:a16="http://schemas.microsoft.com/office/drawing/2014/main" id="{86158CA5-6E24-4E4D-B6FA-C8A6FC13271E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31;p29">
            <a:extLst>
              <a:ext uri="{FF2B5EF4-FFF2-40B4-BE49-F238E27FC236}">
                <a16:creationId xmlns:a16="http://schemas.microsoft.com/office/drawing/2014/main" id="{D107D57D-EB0A-DE4D-83D8-845896B7B44F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A4AA850-210D-2D4A-AC92-B83CD8B22F72}"/>
              </a:ext>
            </a:extLst>
          </p:cNvPr>
          <p:cNvSpPr/>
          <p:nvPr userDrawn="1"/>
        </p:nvSpPr>
        <p:spPr>
          <a:xfrm>
            <a:off x="-14918" y="7503812"/>
            <a:ext cx="12192000" cy="2031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statement slides make long presentations easier to follow, serving as visual breaks in your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1163800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ED602-E314-A946-9574-9E4B113AC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0" y="502783"/>
            <a:ext cx="11353800" cy="5859917"/>
          </a:xfrm>
        </p:spPr>
        <p:txBody>
          <a:bodyPr lIns="0" tIns="0" rIns="0" bIns="0" anchor="ctr">
            <a:noAutofit/>
          </a:bodyPr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OVER WHITE</a:t>
            </a:r>
          </a:p>
        </p:txBody>
      </p:sp>
      <p:sp>
        <p:nvSpPr>
          <p:cNvPr id="8" name="Google Shape;135;p29">
            <a:extLst>
              <a:ext uri="{FF2B5EF4-FFF2-40B4-BE49-F238E27FC236}">
                <a16:creationId xmlns:a16="http://schemas.microsoft.com/office/drawing/2014/main" id="{B5322F6A-B753-B345-B06B-30A15290EC5C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0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EEEC9-5554-964E-A3DA-B9C1880B7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oogle Shape;61;p15">
            <a:extLst>
              <a:ext uri="{FF2B5EF4-FFF2-40B4-BE49-F238E27FC236}">
                <a16:creationId xmlns:a16="http://schemas.microsoft.com/office/drawing/2014/main" id="{F1B974A8-CD3A-6348-9881-5C1533034BF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31;p29">
            <a:extLst>
              <a:ext uri="{FF2B5EF4-FFF2-40B4-BE49-F238E27FC236}">
                <a16:creationId xmlns:a16="http://schemas.microsoft.com/office/drawing/2014/main" id="{71B6B9FB-69CE-7C43-BE06-71DCF4228E11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995FC2A-04AC-144C-8CE2-2B5037B92DCB}"/>
              </a:ext>
            </a:extLst>
          </p:cNvPr>
          <p:cNvSpPr/>
          <p:nvPr userDrawn="1"/>
        </p:nvSpPr>
        <p:spPr>
          <a:xfrm>
            <a:off x="-14918" y="7503812"/>
            <a:ext cx="12192000" cy="2031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statement slides make long presentations easier to follow, serving as visual breaks in your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5010847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135;p29">
            <a:extLst>
              <a:ext uri="{FF2B5EF4-FFF2-40B4-BE49-F238E27FC236}">
                <a16:creationId xmlns:a16="http://schemas.microsoft.com/office/drawing/2014/main" id="{1AB9DE18-1767-C14D-BE3D-83A6E79FEBC2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45564E2-CDD9-3248-AC02-2C4420E009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0" y="1992070"/>
            <a:ext cx="10477500" cy="2900363"/>
          </a:xfrm>
        </p:spPr>
        <p:txBody>
          <a:bodyPr lIns="0" tIns="0" rIns="0" bIns="0" anchor="ctr">
            <a:norm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12" name="Google Shape;136;p29">
            <a:extLst>
              <a:ext uri="{FF2B5EF4-FFF2-40B4-BE49-F238E27FC236}">
                <a16:creationId xmlns:a16="http://schemas.microsoft.com/office/drawing/2014/main" id="{2964BD76-1804-1D41-94CE-842EFA7DED48}"/>
              </a:ext>
            </a:extLst>
          </p:cNvPr>
          <p:cNvPicPr preferRelativeResize="0"/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565" y="235381"/>
            <a:ext cx="913550" cy="11746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246;p40">
            <a:extLst>
              <a:ext uri="{FF2B5EF4-FFF2-40B4-BE49-F238E27FC236}">
                <a16:creationId xmlns:a16="http://schemas.microsoft.com/office/drawing/2014/main" id="{92264890-E83C-0F47-946E-C95ABDD6E92C}"/>
              </a:ext>
            </a:extLst>
          </p:cNvPr>
          <p:cNvPicPr preferRelativeResize="0"/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oogle Shape;131;p29">
            <a:extLst>
              <a:ext uri="{FF2B5EF4-FFF2-40B4-BE49-F238E27FC236}">
                <a16:creationId xmlns:a16="http://schemas.microsoft.com/office/drawing/2014/main" id="{1F3895E6-7FC7-914C-A9A3-403E623C1AB3}"/>
              </a:ext>
            </a:extLst>
          </p:cNvPr>
          <p:cNvPicPr preferRelativeResize="0"/>
          <p:nvPr userDrawn="1"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540085" y="3224886"/>
            <a:ext cx="2884729" cy="4190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2244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DC8A6AF-6806-BE43-AC76-40259F290B3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3897443" cy="6857999"/>
          </a:xfrm>
          <a:custGeom>
            <a:avLst/>
            <a:gdLst>
              <a:gd name="connsiteX0" fmla="*/ 0 w 3897443"/>
              <a:gd name="connsiteY0" fmla="*/ 0 h 6857999"/>
              <a:gd name="connsiteX1" fmla="*/ 3897443 w 3897443"/>
              <a:gd name="connsiteY1" fmla="*/ 0 h 6857999"/>
              <a:gd name="connsiteX2" fmla="*/ 3897443 w 3897443"/>
              <a:gd name="connsiteY2" fmla="*/ 6857999 h 6857999"/>
              <a:gd name="connsiteX3" fmla="*/ 0 w 3897443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97443" h="6857999">
                <a:moveTo>
                  <a:pt x="0" y="0"/>
                </a:moveTo>
                <a:lnTo>
                  <a:pt x="3897443" y="0"/>
                </a:lnTo>
                <a:lnTo>
                  <a:pt x="3897443" y="6857999"/>
                </a:lnTo>
                <a:lnTo>
                  <a:pt x="0" y="6857999"/>
                </a:lnTo>
                <a:close/>
              </a:path>
            </a:pathLst>
          </a:custGeom>
          <a:pattFill prst="solidDmnd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4286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6791113"/>
            <a:ext cx="12192000" cy="66887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 userDrawn="1"/>
        </p:nvSpPr>
        <p:spPr>
          <a:xfrm>
            <a:off x="11465056" y="6385302"/>
            <a:ext cx="391937" cy="472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07" y="510386"/>
            <a:ext cx="11521987" cy="470770"/>
          </a:xfrm>
        </p:spPr>
        <p:txBody>
          <a:bodyPr lIns="0" tIns="0" rIns="0" bIns="0" anchor="t" anchorCtr="0">
            <a:spAutoFit/>
          </a:bodyPr>
          <a:lstStyle>
            <a:lvl1pPr>
              <a:defRPr sz="3599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007" y="1616113"/>
            <a:ext cx="11521987" cy="4560851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007" y="6452189"/>
            <a:ext cx="2743200" cy="365125"/>
          </a:xfrm>
        </p:spPr>
        <p:txBody>
          <a:bodyPr/>
          <a:lstStyle>
            <a:lvl1pPr>
              <a:defRPr sz="1000"/>
            </a:lvl1pPr>
          </a:lstStyle>
          <a:p>
            <a:fld id="{C8EAA725-CC0B-4A16-AE77-83A5B67A2992}" type="datetime1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452189"/>
            <a:ext cx="4114800" cy="365125"/>
          </a:xfrm>
        </p:spPr>
        <p:txBody>
          <a:bodyPr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5056" y="6452189"/>
            <a:ext cx="391937" cy="365125"/>
          </a:xfrm>
        </p:spPr>
        <p:txBody>
          <a:bodyPr/>
          <a:lstStyle>
            <a:lvl1pPr algn="ctr">
              <a:defRPr sz="100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335007" y="319417"/>
            <a:ext cx="793582" cy="853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5" name="Rectangle 14"/>
          <p:cNvSpPr/>
          <p:nvPr userDrawn="1"/>
        </p:nvSpPr>
        <p:spPr>
          <a:xfrm>
            <a:off x="1128589" y="319417"/>
            <a:ext cx="216018" cy="85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6" name="Rectangle 15"/>
          <p:cNvSpPr/>
          <p:nvPr userDrawn="1"/>
        </p:nvSpPr>
        <p:spPr>
          <a:xfrm>
            <a:off x="1560626" y="319417"/>
            <a:ext cx="216018" cy="8530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/>
        </p:nvSpPr>
        <p:spPr>
          <a:xfrm>
            <a:off x="1344607" y="319417"/>
            <a:ext cx="216018" cy="853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5007" y="1001704"/>
            <a:ext cx="11521987" cy="317426"/>
          </a:xfrm>
        </p:spPr>
        <p:txBody>
          <a:bodyPr lIns="0" tIns="0" rIns="0" bIns="0">
            <a:no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251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037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8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>
  <p:cSld name="Cover slide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 txBox="1">
            <a:spLocks noGrp="1"/>
          </p:cNvSpPr>
          <p:nvPr>
            <p:ph type="ctrTitle"/>
          </p:nvPr>
        </p:nvSpPr>
        <p:spPr>
          <a:xfrm>
            <a:off x="609600" y="617431"/>
            <a:ext cx="83624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Verizon NHG DS"/>
              <a:buNone/>
              <a:defRPr sz="8000" b="1" i="0">
                <a:latin typeface="Verizon NHG DS"/>
                <a:ea typeface="Verizon NHG DS"/>
                <a:cs typeface="Verizon NHG DS"/>
                <a:sym typeface="Verizon NHG D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subTitle" idx="1"/>
          </p:nvPr>
        </p:nvSpPr>
        <p:spPr>
          <a:xfrm>
            <a:off x="609600" y="3055831"/>
            <a:ext cx="5486400" cy="18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Verizon NHG TX"/>
              <a:buNone/>
              <a:defRPr sz="2667" b="0" i="0">
                <a:solidFill>
                  <a:schemeClr val="dk1"/>
                </a:solidFill>
                <a:latin typeface="Verizon NHG TX"/>
                <a:ea typeface="Verizon NHG TX"/>
                <a:cs typeface="Verizon NHG TX"/>
                <a:sym typeface="Verizon NHG TX"/>
              </a:defRPr>
            </a:lvl1pPr>
            <a:lvl2pPr lvl="1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Verizon NHG TX"/>
              <a:buNone/>
              <a:defRPr sz="2667" b="1">
                <a:solidFill>
                  <a:schemeClr val="dk1"/>
                </a:solidFill>
              </a:defRPr>
            </a:lvl2pPr>
            <a:lvl3pPr lvl="2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3pPr>
            <a:lvl4pPr lvl="3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4pPr>
            <a:lvl5pPr lvl="4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5pPr>
            <a:lvl6pPr lvl="5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6pPr>
            <a:lvl7pPr lvl="6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7pPr>
            <a:lvl8pPr lvl="7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8pPr>
            <a:lvl9pPr lvl="8" algn="l" rtl="0">
              <a:lnSpc>
                <a:spcPct val="8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95563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4"/>
          <p:cNvSpPr txBox="1">
            <a:spLocks noGrp="1"/>
          </p:cNvSpPr>
          <p:nvPr>
            <p:ph type="title"/>
          </p:nvPr>
        </p:nvSpPr>
        <p:spPr>
          <a:xfrm>
            <a:off x="609600" y="792480"/>
            <a:ext cx="94488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erizon NHG DS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14"/>
          <p:cNvSpPr txBox="1">
            <a:spLocks noGrp="1"/>
          </p:cNvSpPr>
          <p:nvPr>
            <p:ph type="body" idx="1"/>
          </p:nvPr>
        </p:nvSpPr>
        <p:spPr>
          <a:xfrm>
            <a:off x="609600" y="1946107"/>
            <a:ext cx="9448800" cy="39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440256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Verizon NHG DS"/>
              <a:buAutoNum type="arabicPeriod"/>
              <a:defRPr sz="2133"/>
            </a:lvl1pPr>
            <a:lvl2pPr marL="1219170" lvl="1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2pPr>
            <a:lvl3pPr marL="1828754" lvl="2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3pPr>
            <a:lvl4pPr marL="2438339" lvl="3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4pPr>
            <a:lvl5pPr marL="3047924" lvl="4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5pPr>
            <a:lvl6pPr marL="3657509" lvl="5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4267093" lvl="6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4876678" lvl="7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5486263" lvl="8" indent="-40639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200"/>
              <a:buChar char="■"/>
              <a:defRPr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ldNum" idx="12"/>
          </p:nvPr>
        </p:nvSpPr>
        <p:spPr>
          <a:xfrm>
            <a:off x="11277600" y="6266688"/>
            <a:ext cx="3048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0" lvl="0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1pPr>
            <a:lvl2pPr marL="0" lvl="1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2pPr>
            <a:lvl3pPr marL="0" lvl="2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3pPr>
            <a:lvl4pPr marL="0" lvl="3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4pPr>
            <a:lvl5pPr marL="0" lvl="4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5pPr>
            <a:lvl6pPr marL="0" lvl="5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6pPr>
            <a:lvl7pPr marL="0" lvl="6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7pPr>
            <a:lvl8pPr marL="0" lvl="7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8pPr>
            <a:lvl9pPr marL="0" lvl="8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57" name="Google Shape;57;p14"/>
          <p:cNvCxnSpPr/>
          <p:nvPr/>
        </p:nvCxnSpPr>
        <p:spPr>
          <a:xfrm>
            <a:off x="609600" y="609600"/>
            <a:ext cx="10972800" cy="0"/>
          </a:xfrm>
          <a:prstGeom prst="straightConnector1">
            <a:avLst/>
          </a:prstGeom>
          <a:noFill/>
          <a:ln w="476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603190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ED602-E314-A946-9574-9E4B113AC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2" y="1943099"/>
            <a:ext cx="10928348" cy="1447801"/>
          </a:xfrm>
        </p:spPr>
        <p:txBody>
          <a:bodyPr lIns="0" tIns="0" rIns="0" bIns="0" anchor="t">
            <a:noAutofit/>
          </a:bodyPr>
          <a:lstStyle>
            <a:lvl1pPr>
              <a:defRPr sz="13800" b="1" i="0">
                <a:solidFill>
                  <a:schemeClr val="bg1"/>
                </a:solidFill>
                <a:latin typeface="Arial Black" panose="020B0604020202020204" pitchFamily="34" charset="0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##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3FD5B7-22A8-C34C-A750-33FFC8D2C34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19102" y="3476791"/>
            <a:ext cx="10928348" cy="1500187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4800" b="1" i="0">
                <a:solidFill>
                  <a:schemeClr val="bg1"/>
                </a:solidFill>
                <a:latin typeface="Arial Black" panose="020B0604020202020204" pitchFamily="34" charset="0"/>
                <a:ea typeface="Arial Black" panose="020B0604020202020204" pitchFamily="34" charset="0"/>
                <a:cs typeface="Arial Black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8" name="Google Shape;135;p29">
            <a:extLst>
              <a:ext uri="{FF2B5EF4-FFF2-40B4-BE49-F238E27FC236}">
                <a16:creationId xmlns:a16="http://schemas.microsoft.com/office/drawing/2014/main" id="{B5322F6A-B753-B345-B06B-30A15290EC5C}"/>
              </a:ext>
            </a:extLst>
          </p:cNvPr>
          <p:cNvSpPr txBox="1"/>
          <p:nvPr userDrawn="1"/>
        </p:nvSpPr>
        <p:spPr>
          <a:xfrm>
            <a:off x="419102" y="6362700"/>
            <a:ext cx="3666873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9" name="Google Shape;61;p15">
            <a:extLst>
              <a:ext uri="{FF2B5EF4-FFF2-40B4-BE49-F238E27FC236}">
                <a16:creationId xmlns:a16="http://schemas.microsoft.com/office/drawing/2014/main" id="{C212A1C8-6E15-A045-977E-093E502A3A6D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EEEC9-5554-964E-A3DA-B9C1880B7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Google Shape;135;p29">
            <a:extLst>
              <a:ext uri="{FF2B5EF4-FFF2-40B4-BE49-F238E27FC236}">
                <a16:creationId xmlns:a16="http://schemas.microsoft.com/office/drawing/2014/main" id="{CD79FA05-7672-6E46-B67A-81C2718A4187}"/>
              </a:ext>
            </a:extLst>
          </p:cNvPr>
          <p:cNvSpPr txBox="1"/>
          <p:nvPr userDrawn="1"/>
        </p:nvSpPr>
        <p:spPr>
          <a:xfrm>
            <a:off x="-1" y="7487930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Helvetica Neue" panose="02000503000000020004" pitchFamily="2" charset="0"/>
                <a:sym typeface="Helvetica Neue"/>
              </a:rPr>
              <a:t>When numbering sections, numerals should have at least two places. E.g., “01” rather than simply “1"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Helvetica Neue" panose="02000503000000020004" pitchFamily="2" charset="0"/>
              <a:sym typeface="Helvetica Neue"/>
            </a:endParaRPr>
          </a:p>
        </p:txBody>
      </p:sp>
      <p:pic>
        <p:nvPicPr>
          <p:cNvPr id="13" name="Google Shape;131;p29">
            <a:extLst>
              <a:ext uri="{FF2B5EF4-FFF2-40B4-BE49-F238E27FC236}">
                <a16:creationId xmlns:a16="http://schemas.microsoft.com/office/drawing/2014/main" id="{7FF81CC7-7497-9841-A13A-CF899AF3CFE0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826447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py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4A2869-8B17-B544-9CFF-DC5C2F7D3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rmAutofit/>
          </a:bodyPr>
          <a:lstStyle>
            <a:lvl1pPr>
              <a:defRPr sz="28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E44935-B3BD-8E40-9960-885DD9804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981199"/>
            <a:ext cx="11353800" cy="4381499"/>
          </a:xfrm>
        </p:spPr>
        <p:txBody>
          <a:bodyPr lIns="0" tIns="0" rIns="0" bIns="0">
            <a:normAutofit/>
          </a:bodyPr>
          <a:lstStyle>
            <a:lvl1pPr>
              <a:defRPr sz="16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oogle Shape;61;p15">
            <a:extLst>
              <a:ext uri="{FF2B5EF4-FFF2-40B4-BE49-F238E27FC236}">
                <a16:creationId xmlns:a16="http://schemas.microsoft.com/office/drawing/2014/main" id="{E19D577F-26F4-7E45-B7F8-60688F647522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1;p29">
            <a:extLst>
              <a:ext uri="{FF2B5EF4-FFF2-40B4-BE49-F238E27FC236}">
                <a16:creationId xmlns:a16="http://schemas.microsoft.com/office/drawing/2014/main" id="{8478335E-1040-D545-9443-FD550AA08922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41313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4A2869-8B17-B544-9CFF-DC5C2F7D3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rmAutofit/>
          </a:bodyPr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oogle Shape;61;p15">
            <a:extLst>
              <a:ext uri="{FF2B5EF4-FFF2-40B4-BE49-F238E27FC236}">
                <a16:creationId xmlns:a16="http://schemas.microsoft.com/office/drawing/2014/main" id="{D9DB8F09-1A3E-D24C-97E2-DAB9988D1DF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31;p29">
            <a:extLst>
              <a:ext uri="{FF2B5EF4-FFF2-40B4-BE49-F238E27FC236}">
                <a16:creationId xmlns:a16="http://schemas.microsoft.com/office/drawing/2014/main" id="{E66248C5-863E-E244-AD3D-6883D3513871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56964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Google Shape;61;p15">
            <a:extLst>
              <a:ext uri="{FF2B5EF4-FFF2-40B4-BE49-F238E27FC236}">
                <a16:creationId xmlns:a16="http://schemas.microsoft.com/office/drawing/2014/main" id="{C50062A9-988A-9E47-B3E6-F36C9C911A2C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4242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38ACC7-CDE9-5A4D-8C9F-4C8A3AA21DB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34100" y="1"/>
            <a:ext cx="6057900" cy="6842616"/>
          </a:xfrm>
        </p:spPr>
        <p:txBody>
          <a:bodyPr/>
          <a:lstStyle>
            <a:lvl1pPr>
              <a:defRPr sz="3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28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2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20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20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4A2869-8B17-B544-9CFF-DC5C2F7D3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502784"/>
            <a:ext cx="4876800" cy="1402216"/>
          </a:xfrm>
        </p:spPr>
        <p:txBody>
          <a:bodyPr lIns="0" tIns="0" rIns="0" bIns="0">
            <a:normAutofit/>
          </a:bodyPr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E44935-B3BD-8E40-9960-885DD9804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981200"/>
            <a:ext cx="4876800" cy="4391210"/>
          </a:xfrm>
        </p:spPr>
        <p:txBody>
          <a:bodyPr lIns="0" tIns="0" rIns="0" bIns="0">
            <a:normAutofit/>
          </a:bodyPr>
          <a:lstStyle>
            <a:lvl1pPr>
              <a:defRPr sz="16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Google Shape;135;p29">
            <a:extLst>
              <a:ext uri="{FF2B5EF4-FFF2-40B4-BE49-F238E27FC236}">
                <a16:creationId xmlns:a16="http://schemas.microsoft.com/office/drawing/2014/main" id="{3CCA303A-0897-4E4D-8DAA-5259DB3F568A}"/>
              </a:ext>
            </a:extLst>
          </p:cNvPr>
          <p:cNvSpPr txBox="1"/>
          <p:nvPr userDrawn="1"/>
        </p:nvSpPr>
        <p:spPr>
          <a:xfrm>
            <a:off x="-1" y="74838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Please make sure that page numbers, graphic patterns, legal, and the logo bug are all visible over image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4" name="Google Shape;61;p15">
            <a:extLst>
              <a:ext uri="{FF2B5EF4-FFF2-40B4-BE49-F238E27FC236}">
                <a16:creationId xmlns:a16="http://schemas.microsoft.com/office/drawing/2014/main" id="{C310EF45-0C75-C94C-BAF7-4F13C37E434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31;p29">
            <a:extLst>
              <a:ext uri="{FF2B5EF4-FFF2-40B4-BE49-F238E27FC236}">
                <a16:creationId xmlns:a16="http://schemas.microsoft.com/office/drawing/2014/main" id="{10D5F239-274C-3A42-A30B-DA9E3B515CE7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669921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38ACC7-CDE9-5A4D-8C9F-4C8A3AA21DB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381500" y="1"/>
            <a:ext cx="7810500" cy="6842616"/>
          </a:xfrm>
        </p:spPr>
        <p:txBody>
          <a:bodyPr>
            <a:normAutofit/>
          </a:bodyPr>
          <a:lstStyle>
            <a:lvl1pPr>
              <a:defRPr sz="16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1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1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4A2869-8B17-B544-9CFF-DC5C2F7D3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502785"/>
            <a:ext cx="3390900" cy="1402215"/>
          </a:xfrm>
        </p:spPr>
        <p:txBody>
          <a:bodyPr lIns="0" tIns="0" rIns="0" bIns="0">
            <a:normAutofit/>
          </a:bodyPr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E44935-B3BD-8E40-9960-885DD9804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981200"/>
            <a:ext cx="3390900" cy="4381500"/>
          </a:xfrm>
        </p:spPr>
        <p:txBody>
          <a:bodyPr lIns="0" tIns="0" rIns="0" bIns="0">
            <a:normAutofit/>
          </a:bodyPr>
          <a:lstStyle>
            <a:lvl1pPr>
              <a:defRPr sz="16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Google Shape;135;p29">
            <a:extLst>
              <a:ext uri="{FF2B5EF4-FFF2-40B4-BE49-F238E27FC236}">
                <a16:creationId xmlns:a16="http://schemas.microsoft.com/office/drawing/2014/main" id="{402686C8-D270-CC41-87D4-A220C3B4FAC2}"/>
              </a:ext>
            </a:extLst>
          </p:cNvPr>
          <p:cNvSpPr txBox="1"/>
          <p:nvPr userDrawn="1"/>
        </p:nvSpPr>
        <p:spPr>
          <a:xfrm>
            <a:off x="-1" y="74838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Please make sure that page numbers, graphic patterns, legal, and the logo bug are all visible over image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4" name="Google Shape;61;p15">
            <a:extLst>
              <a:ext uri="{FF2B5EF4-FFF2-40B4-BE49-F238E27FC236}">
                <a16:creationId xmlns:a16="http://schemas.microsoft.com/office/drawing/2014/main" id="{A02C1BA6-8F26-8044-9EE8-77EBD2DCB1BC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31;p29">
            <a:extLst>
              <a:ext uri="{FF2B5EF4-FFF2-40B4-BE49-F238E27FC236}">
                <a16:creationId xmlns:a16="http://schemas.microsoft.com/office/drawing/2014/main" id="{0F02FDE9-AB3A-4040-B01E-2925DC7470E0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374721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Bleed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38ACC7-CDE9-5A4D-8C9F-4C8A3AA21DB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-1" y="1"/>
            <a:ext cx="12192001" cy="6842616"/>
          </a:xfrm>
        </p:spPr>
        <p:txBody>
          <a:bodyPr>
            <a:normAutofit/>
          </a:bodyPr>
          <a:lstStyle>
            <a:lvl1pPr>
              <a:defRPr sz="16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1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1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4A2869-8B17-B544-9CFF-DC5C2F7D3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502785"/>
            <a:ext cx="4876800" cy="1402215"/>
          </a:xfrm>
        </p:spPr>
        <p:txBody>
          <a:bodyPr lIns="0" tIns="0" rIns="0" bIns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E44935-B3BD-8E40-9960-885DD9804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981200"/>
            <a:ext cx="4876800" cy="4381500"/>
          </a:xfrm>
        </p:spPr>
        <p:txBody>
          <a:bodyPr lIns="0" tIns="0" rIns="0" bIns="0"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200" b="0" i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200" b="0" i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Google Shape;135;p29">
            <a:extLst>
              <a:ext uri="{FF2B5EF4-FFF2-40B4-BE49-F238E27FC236}">
                <a16:creationId xmlns:a16="http://schemas.microsoft.com/office/drawing/2014/main" id="{402686C8-D270-CC41-87D4-A220C3B4FAC2}"/>
              </a:ext>
            </a:extLst>
          </p:cNvPr>
          <p:cNvSpPr txBox="1"/>
          <p:nvPr userDrawn="1"/>
        </p:nvSpPr>
        <p:spPr>
          <a:xfrm>
            <a:off x="-1" y="74838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Please make sure that page numbers, graphic patterns, legal, and the logo bug are all visible over image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5" name="Google Shape;246;p40">
            <a:extLst>
              <a:ext uri="{FF2B5EF4-FFF2-40B4-BE49-F238E27FC236}">
                <a16:creationId xmlns:a16="http://schemas.microsoft.com/office/drawing/2014/main" id="{3ACC2C59-E23A-B541-BE94-2A89478F471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Google Shape;131;p29">
            <a:extLst>
              <a:ext uri="{FF2B5EF4-FFF2-40B4-BE49-F238E27FC236}">
                <a16:creationId xmlns:a16="http://schemas.microsoft.com/office/drawing/2014/main" id="{2012730B-248A-AF4E-8BC6-9F6D785B39C1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5785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4827E1D-223C-C347-B356-D32B75A405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0ED602-E314-A946-9574-9E4B113AC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0" y="502785"/>
            <a:ext cx="11353800" cy="5859916"/>
          </a:xfrm>
        </p:spPr>
        <p:txBody>
          <a:bodyPr lIns="0" tIns="0" rIns="0" bIns="0" anchor="ctr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OVER IMAGE</a:t>
            </a:r>
          </a:p>
        </p:txBody>
      </p:sp>
      <p:sp>
        <p:nvSpPr>
          <p:cNvPr id="8" name="Google Shape;135;p29">
            <a:extLst>
              <a:ext uri="{FF2B5EF4-FFF2-40B4-BE49-F238E27FC236}">
                <a16:creationId xmlns:a16="http://schemas.microsoft.com/office/drawing/2014/main" id="{B5322F6A-B753-B345-B06B-30A15290EC5C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EEEC9-5554-964E-A3DA-B9C1880B7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Google Shape;135;p29">
            <a:extLst>
              <a:ext uri="{FF2B5EF4-FFF2-40B4-BE49-F238E27FC236}">
                <a16:creationId xmlns:a16="http://schemas.microsoft.com/office/drawing/2014/main" id="{13AF5523-C9E8-9D4F-A548-C407F8708D98}"/>
              </a:ext>
            </a:extLst>
          </p:cNvPr>
          <p:cNvSpPr txBox="1"/>
          <p:nvPr userDrawn="1"/>
        </p:nvSpPr>
        <p:spPr>
          <a:xfrm>
            <a:off x="-1" y="74838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Please make sure that page numbers, graphic patterns, legal, and the logo bug are all visible over image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4" name="Google Shape;246;p40">
            <a:extLst>
              <a:ext uri="{FF2B5EF4-FFF2-40B4-BE49-F238E27FC236}">
                <a16:creationId xmlns:a16="http://schemas.microsoft.com/office/drawing/2014/main" id="{26E1E9E5-73FE-B34D-B602-67BA32A6FD44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31;p29">
            <a:extLst>
              <a:ext uri="{FF2B5EF4-FFF2-40B4-BE49-F238E27FC236}">
                <a16:creationId xmlns:a16="http://schemas.microsoft.com/office/drawing/2014/main" id="{925DFFA0-2E05-C74C-9D8E-058A96D6194D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C045360-E5CB-9146-8F50-F39697FA9247}"/>
              </a:ext>
            </a:extLst>
          </p:cNvPr>
          <p:cNvSpPr/>
          <p:nvPr userDrawn="1"/>
        </p:nvSpPr>
        <p:spPr>
          <a:xfrm>
            <a:off x="-14918" y="7697782"/>
            <a:ext cx="12192000" cy="2031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statement slides make long presentations easier to follow, serving as visual breaks in your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3210821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EE2858-06F6-E845-A5E6-D742407A33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95301"/>
            <a:ext cx="11353800" cy="91439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BCFE26-3B7A-DF48-9126-B2DF9FEF74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9100" y="1485901"/>
            <a:ext cx="11353800" cy="48767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50FCF4-9159-0C44-AC0F-17B414A7E4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3709" y="16974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Google Shape;135;p29">
            <a:extLst>
              <a:ext uri="{FF2B5EF4-FFF2-40B4-BE49-F238E27FC236}">
                <a16:creationId xmlns:a16="http://schemas.microsoft.com/office/drawing/2014/main" id="{9AE3BA6C-2E48-854D-A7F1-34357C9B19FE}"/>
              </a:ext>
            </a:extLst>
          </p:cNvPr>
          <p:cNvSpPr txBox="1"/>
          <p:nvPr userDrawn="1"/>
        </p:nvSpPr>
        <p:spPr>
          <a:xfrm>
            <a:off x="-1" y="70266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Under the ”View” menu, make sure that Guides are turned on in order to see the underlying grid structure.</a:t>
            </a: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Use Arial throughout the deck. Headlines should be Arial Black and all caps. Body copy should be Arial Regular and sentence case, with Arial Black used for emphasi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8" name="Google Shape;489;p54">
            <a:extLst>
              <a:ext uri="{FF2B5EF4-FFF2-40B4-BE49-F238E27FC236}">
                <a16:creationId xmlns:a16="http://schemas.microsoft.com/office/drawing/2014/main" id="{1D03B768-0A8A-E347-860E-AE53B8DA689A}"/>
              </a:ext>
            </a:extLst>
          </p:cNvPr>
          <p:cNvSpPr txBox="1"/>
          <p:nvPr userDrawn="1"/>
        </p:nvSpPr>
        <p:spPr>
          <a:xfrm>
            <a:off x="-1953717" y="178274"/>
            <a:ext cx="1801676" cy="887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85C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 R236  G43  B57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C1  M96  Y82  K0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EC2B39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29" name="Google Shape;500;p54">
            <a:extLst>
              <a:ext uri="{FF2B5EF4-FFF2-40B4-BE49-F238E27FC236}">
                <a16:creationId xmlns:a16="http://schemas.microsoft.com/office/drawing/2014/main" id="{D03DA737-EC28-374C-A53C-5DBC9B8984C9}"/>
              </a:ext>
            </a:extLst>
          </p:cNvPr>
          <p:cNvSpPr txBox="1"/>
          <p:nvPr userDrawn="1"/>
        </p:nvSpPr>
        <p:spPr>
          <a:xfrm>
            <a:off x="-1953717" y="2135166"/>
            <a:ext cx="1801676" cy="88792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00" b="1">
                <a:solidFill>
                  <a:srgbClr val="000000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900">
                <a:solidFill>
                  <a:srgbClr val="000000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White</a:t>
            </a:r>
            <a:endParaRPr sz="900">
              <a:solidFill>
                <a:srgbClr val="000000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rgbClr val="000000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</a:t>
            </a:r>
            <a:r>
              <a:rPr lang="en" sz="900">
                <a:solidFill>
                  <a:srgbClr val="000000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 R255  G255  B255</a:t>
            </a:r>
            <a:endParaRPr sz="900">
              <a:solidFill>
                <a:srgbClr val="000000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rgbClr val="000000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900">
                <a:solidFill>
                  <a:srgbClr val="000000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C0  M0  Y0  K0</a:t>
            </a:r>
            <a:endParaRPr sz="900">
              <a:solidFill>
                <a:srgbClr val="000000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dk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900"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FFFFFF</a:t>
            </a:r>
            <a:endParaRPr sz="900">
              <a:solidFill>
                <a:srgbClr val="000000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0" name="Google Shape;135;p29">
            <a:extLst>
              <a:ext uri="{FF2B5EF4-FFF2-40B4-BE49-F238E27FC236}">
                <a16:creationId xmlns:a16="http://schemas.microsoft.com/office/drawing/2014/main" id="{288544CC-0962-D24D-BD84-A4C75498EFCA}"/>
              </a:ext>
            </a:extLst>
          </p:cNvPr>
          <p:cNvSpPr txBox="1"/>
          <p:nvPr userDrawn="1"/>
        </p:nvSpPr>
        <p:spPr>
          <a:xfrm>
            <a:off x="-1797961" y="-53373"/>
            <a:ext cx="1645920" cy="2316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050" b="1" u="none" strike="noStrike" cap="none">
                <a:solidFill>
                  <a:schemeClr val="tx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/>
              </a:rPr>
              <a:t>PRIMARY COLORS</a:t>
            </a:r>
            <a:endParaRPr sz="1050" b="1" u="none" strike="noStrike" cap="none">
              <a:solidFill>
                <a:schemeClr val="tx1"/>
              </a:solidFill>
              <a:latin typeface="Arial Black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Helvetica Neue"/>
            </a:endParaRPr>
          </a:p>
        </p:txBody>
      </p:sp>
      <p:sp>
        <p:nvSpPr>
          <p:cNvPr id="31" name="Google Shape;493;p54">
            <a:extLst>
              <a:ext uri="{FF2B5EF4-FFF2-40B4-BE49-F238E27FC236}">
                <a16:creationId xmlns:a16="http://schemas.microsoft.com/office/drawing/2014/main" id="{62DF0BBB-7C65-5648-9CA5-56450B5EF2D6}"/>
              </a:ext>
            </a:extLst>
          </p:cNvPr>
          <p:cNvSpPr txBox="1"/>
          <p:nvPr userDrawn="1"/>
        </p:nvSpPr>
        <p:spPr>
          <a:xfrm>
            <a:off x="-1953717" y="1156720"/>
            <a:ext cx="1801676" cy="8879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Black 6 C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 R0  G0  B0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C75  M68  Y67  K90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000000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2" name="Google Shape;135;p29">
            <a:extLst>
              <a:ext uri="{FF2B5EF4-FFF2-40B4-BE49-F238E27FC236}">
                <a16:creationId xmlns:a16="http://schemas.microsoft.com/office/drawing/2014/main" id="{47795A3A-A7CC-CF4C-AA0D-71CEC112C0AA}"/>
              </a:ext>
            </a:extLst>
          </p:cNvPr>
          <p:cNvSpPr txBox="1"/>
          <p:nvPr userDrawn="1"/>
        </p:nvSpPr>
        <p:spPr>
          <a:xfrm>
            <a:off x="12326377" y="-53373"/>
            <a:ext cx="1645920" cy="2316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050" b="1" u="none" strike="noStrike" cap="none">
                <a:solidFill>
                  <a:schemeClr val="tx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/>
              </a:rPr>
              <a:t>SECONDARY COLORS</a:t>
            </a:r>
            <a:endParaRPr sz="1050" b="1" u="none" strike="noStrike" cap="none">
              <a:solidFill>
                <a:schemeClr val="tx1"/>
              </a:solidFill>
              <a:latin typeface="Arial Black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Helvetica Neue"/>
            </a:endParaRPr>
          </a:p>
        </p:txBody>
      </p:sp>
      <p:sp>
        <p:nvSpPr>
          <p:cNvPr id="33" name="Google Shape;521;p56">
            <a:extLst>
              <a:ext uri="{FF2B5EF4-FFF2-40B4-BE49-F238E27FC236}">
                <a16:creationId xmlns:a16="http://schemas.microsoft.com/office/drawing/2014/main" id="{60F673A1-08EC-6748-AA6B-ECD71172AF1D}"/>
              </a:ext>
            </a:extLst>
          </p:cNvPr>
          <p:cNvSpPr txBox="1"/>
          <p:nvPr userDrawn="1"/>
        </p:nvSpPr>
        <p:spPr>
          <a:xfrm>
            <a:off x="12314525" y="179213"/>
            <a:ext cx="1515709" cy="565135"/>
          </a:xfrm>
          <a:prstGeom prst="rect">
            <a:avLst/>
          </a:prstGeom>
          <a:solidFill>
            <a:srgbClr val="495683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7673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73 G86 B131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81 M70 Y25 K8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495683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4" name="Google Shape;522;p56">
            <a:extLst>
              <a:ext uri="{FF2B5EF4-FFF2-40B4-BE49-F238E27FC236}">
                <a16:creationId xmlns:a16="http://schemas.microsoft.com/office/drawing/2014/main" id="{A7D37594-C833-4141-B76F-B67B2C1ACC0E}"/>
              </a:ext>
            </a:extLst>
          </p:cNvPr>
          <p:cNvSpPr txBox="1"/>
          <p:nvPr userDrawn="1"/>
        </p:nvSpPr>
        <p:spPr>
          <a:xfrm>
            <a:off x="12314525" y="2026058"/>
            <a:ext cx="1512202" cy="565135"/>
          </a:xfrm>
          <a:prstGeom prst="rect">
            <a:avLst/>
          </a:prstGeom>
          <a:solidFill>
            <a:srgbClr val="B0CFD9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551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176 G207 B217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30 M7 Y11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B0CFD9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5" name="Google Shape;523;p56">
            <a:extLst>
              <a:ext uri="{FF2B5EF4-FFF2-40B4-BE49-F238E27FC236}">
                <a16:creationId xmlns:a16="http://schemas.microsoft.com/office/drawing/2014/main" id="{96A8C196-320E-514E-BC69-BBEBC7F26CDA}"/>
              </a:ext>
            </a:extLst>
          </p:cNvPr>
          <p:cNvSpPr txBox="1"/>
          <p:nvPr userDrawn="1"/>
        </p:nvSpPr>
        <p:spPr>
          <a:xfrm>
            <a:off x="12314525" y="794828"/>
            <a:ext cx="1512202" cy="565135"/>
          </a:xfrm>
          <a:prstGeom prst="rect">
            <a:avLst/>
          </a:prstGeom>
          <a:solidFill>
            <a:srgbClr val="65618A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5275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101 G97 B138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68 M65 Y24 K5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65618A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6" name="Google Shape;524;p56">
            <a:extLst>
              <a:ext uri="{FF2B5EF4-FFF2-40B4-BE49-F238E27FC236}">
                <a16:creationId xmlns:a16="http://schemas.microsoft.com/office/drawing/2014/main" id="{3BB702B5-DE96-534C-A6A6-31F8692DBF83}"/>
              </a:ext>
            </a:extLst>
          </p:cNvPr>
          <p:cNvSpPr txBox="1"/>
          <p:nvPr userDrawn="1"/>
        </p:nvSpPr>
        <p:spPr>
          <a:xfrm>
            <a:off x="12314525" y="1410443"/>
            <a:ext cx="1515709" cy="565135"/>
          </a:xfrm>
          <a:prstGeom prst="rect">
            <a:avLst/>
          </a:prstGeom>
          <a:solidFill>
            <a:srgbClr val="3A718C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7698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58 G113 B14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81 M48 Y32 K7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3A718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7" name="Google Shape;532;p56">
            <a:extLst>
              <a:ext uri="{FF2B5EF4-FFF2-40B4-BE49-F238E27FC236}">
                <a16:creationId xmlns:a16="http://schemas.microsoft.com/office/drawing/2014/main" id="{E94D427C-93A4-3A4A-B33C-2BAFE9FAEF63}"/>
              </a:ext>
            </a:extLst>
          </p:cNvPr>
          <p:cNvSpPr txBox="1"/>
          <p:nvPr userDrawn="1"/>
        </p:nvSpPr>
        <p:spPr>
          <a:xfrm>
            <a:off x="12314525" y="2641673"/>
            <a:ext cx="1515709" cy="565135"/>
          </a:xfrm>
          <a:prstGeom prst="rect">
            <a:avLst/>
          </a:prstGeom>
          <a:solidFill>
            <a:srgbClr val="416243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7734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65 G98 B67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78 M38 Y83 K3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416243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8" name="Google Shape;533;p56">
            <a:extLst>
              <a:ext uri="{FF2B5EF4-FFF2-40B4-BE49-F238E27FC236}">
                <a16:creationId xmlns:a16="http://schemas.microsoft.com/office/drawing/2014/main" id="{93D652CF-BC90-F041-BCAA-162ED27CFDC3}"/>
              </a:ext>
            </a:extLst>
          </p:cNvPr>
          <p:cNvSpPr txBox="1"/>
          <p:nvPr userDrawn="1"/>
        </p:nvSpPr>
        <p:spPr>
          <a:xfrm>
            <a:off x="12314525" y="3257288"/>
            <a:ext cx="1512202" cy="565135"/>
          </a:xfrm>
          <a:prstGeom prst="rect">
            <a:avLst/>
          </a:prstGeom>
          <a:solidFill>
            <a:srgbClr val="57A773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7723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87 G167 B115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69 M13 Y71 K1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57A773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9" name="Google Shape;534;p56">
            <a:extLst>
              <a:ext uri="{FF2B5EF4-FFF2-40B4-BE49-F238E27FC236}">
                <a16:creationId xmlns:a16="http://schemas.microsoft.com/office/drawing/2014/main" id="{6B0762AD-BE85-0F43-AA04-2787992E8D66}"/>
              </a:ext>
            </a:extLst>
          </p:cNvPr>
          <p:cNvSpPr txBox="1"/>
          <p:nvPr userDrawn="1"/>
        </p:nvSpPr>
        <p:spPr>
          <a:xfrm>
            <a:off x="12314525" y="5098963"/>
            <a:ext cx="1515709" cy="565135"/>
          </a:xfrm>
          <a:prstGeom prst="rect">
            <a:avLst/>
          </a:prstGeom>
          <a:solidFill>
            <a:srgbClr val="F26419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66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242 G100 B25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0 M79 Y100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</a:t>
            </a:r>
            <a:r>
              <a:rPr lang="en" sz="8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F26419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0" name="Google Shape;535;p56">
            <a:extLst>
              <a:ext uri="{FF2B5EF4-FFF2-40B4-BE49-F238E27FC236}">
                <a16:creationId xmlns:a16="http://schemas.microsoft.com/office/drawing/2014/main" id="{BECDF4F2-1E37-9A4B-9D6E-8AF5DFC0AC99}"/>
              </a:ext>
            </a:extLst>
          </p:cNvPr>
          <p:cNvSpPr txBox="1"/>
          <p:nvPr userDrawn="1"/>
        </p:nvSpPr>
        <p:spPr>
          <a:xfrm>
            <a:off x="12314525" y="5714578"/>
            <a:ext cx="1512202" cy="565135"/>
          </a:xfrm>
          <a:prstGeom prst="rect">
            <a:avLst/>
          </a:prstGeom>
          <a:solidFill>
            <a:srgbClr val="F6AE2D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30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246 G174 B45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0 M37 Y100 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F6AE2D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1" name="Google Shape;536;p56">
            <a:extLst>
              <a:ext uri="{FF2B5EF4-FFF2-40B4-BE49-F238E27FC236}">
                <a16:creationId xmlns:a16="http://schemas.microsoft.com/office/drawing/2014/main" id="{51E42B78-E127-BE40-AF38-6629D88FA785}"/>
              </a:ext>
            </a:extLst>
          </p:cNvPr>
          <p:cNvSpPr txBox="1"/>
          <p:nvPr userDrawn="1"/>
        </p:nvSpPr>
        <p:spPr>
          <a:xfrm>
            <a:off x="12314525" y="3872903"/>
            <a:ext cx="1515709" cy="559965"/>
          </a:xfrm>
          <a:prstGeom prst="rect">
            <a:avLst/>
          </a:prstGeom>
          <a:solidFill>
            <a:srgbClr val="FFD20A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915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 255 G218 B39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1 M11 Y93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FFD20A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2" name="Google Shape;537;p56">
            <a:extLst>
              <a:ext uri="{FF2B5EF4-FFF2-40B4-BE49-F238E27FC236}">
                <a16:creationId xmlns:a16="http://schemas.microsoft.com/office/drawing/2014/main" id="{E1511443-ED9A-9A43-8B6F-B1B8D14F613A}"/>
              </a:ext>
            </a:extLst>
          </p:cNvPr>
          <p:cNvSpPr txBox="1"/>
          <p:nvPr userDrawn="1"/>
        </p:nvSpPr>
        <p:spPr>
          <a:xfrm>
            <a:off x="12314525" y="4483348"/>
            <a:ext cx="1512202" cy="565135"/>
          </a:xfrm>
          <a:prstGeom prst="rect">
            <a:avLst/>
          </a:prstGeom>
          <a:solidFill>
            <a:srgbClr val="FFE156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chemeClr val="bg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15 C</a:t>
            </a:r>
            <a:endParaRPr sz="800">
              <a:solidFill>
                <a:schemeClr val="bg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chemeClr val="bg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</a:t>
            </a:r>
            <a:r>
              <a:rPr lang="en" sz="80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255 G255 B86</a:t>
            </a:r>
            <a:endParaRPr sz="800">
              <a:solidFill>
                <a:schemeClr val="bg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chemeClr val="bg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0 M8 Y92 K0</a:t>
            </a:r>
            <a:endParaRPr sz="800">
              <a:solidFill>
                <a:schemeClr val="bg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chemeClr val="bg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FFE156</a:t>
            </a:r>
            <a:endParaRPr sz="800">
              <a:solidFill>
                <a:schemeClr val="bg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3" name="Google Shape;536;p56">
            <a:extLst>
              <a:ext uri="{FF2B5EF4-FFF2-40B4-BE49-F238E27FC236}">
                <a16:creationId xmlns:a16="http://schemas.microsoft.com/office/drawing/2014/main" id="{D2412C9F-C476-9442-9979-68C8B1FBC3B6}"/>
              </a:ext>
            </a:extLst>
          </p:cNvPr>
          <p:cNvSpPr txBox="1"/>
          <p:nvPr userDrawn="1"/>
        </p:nvSpPr>
        <p:spPr>
          <a:xfrm>
            <a:off x="12314525" y="6940637"/>
            <a:ext cx="1515709" cy="559965"/>
          </a:xfrm>
          <a:prstGeom prst="rect">
            <a:avLst/>
          </a:prstGeom>
          <a:solidFill>
            <a:srgbClr val="D5D9DC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427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 213 G217 B22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15 M10 Y9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D5D9D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4" name="Google Shape;536;p56">
            <a:extLst>
              <a:ext uri="{FF2B5EF4-FFF2-40B4-BE49-F238E27FC236}">
                <a16:creationId xmlns:a16="http://schemas.microsoft.com/office/drawing/2014/main" id="{2663D03C-9B70-7343-9407-71BDA966ADD9}"/>
              </a:ext>
            </a:extLst>
          </p:cNvPr>
          <p:cNvSpPr txBox="1"/>
          <p:nvPr userDrawn="1"/>
        </p:nvSpPr>
        <p:spPr>
          <a:xfrm>
            <a:off x="12314525" y="6330193"/>
            <a:ext cx="1515709" cy="559965"/>
          </a:xfrm>
          <a:prstGeom prst="rect">
            <a:avLst/>
          </a:prstGeom>
          <a:solidFill>
            <a:srgbClr val="7A868D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430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125 G134 B14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54 M41 Y38 K4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7D868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211252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87" r:id="rId3"/>
    <p:sldLayoutId id="2147483692" r:id="rId4"/>
    <p:sldLayoutId id="2147483694" r:id="rId5"/>
    <p:sldLayoutId id="2147483690" r:id="rId6"/>
    <p:sldLayoutId id="2147483691" r:id="rId7"/>
    <p:sldLayoutId id="2147483697" r:id="rId8"/>
    <p:sldLayoutId id="2147483689" r:id="rId9"/>
    <p:sldLayoutId id="2147483695" r:id="rId10"/>
    <p:sldLayoutId id="2147483669" r:id="rId11"/>
    <p:sldLayoutId id="2147483696" r:id="rId12"/>
    <p:sldLayoutId id="2147483693" r:id="rId13"/>
    <p:sldLayoutId id="2147483672" r:id="rId14"/>
    <p:sldLayoutId id="2147483673" r:id="rId15"/>
    <p:sldLayoutId id="2147483674" r:id="rId16"/>
    <p:sldLayoutId id="2147483675" r:id="rId17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spcAft>
          <a:spcPts val="1600"/>
        </a:spcAft>
        <a:buNone/>
        <a:defRPr sz="2800" b="1" i="0" kern="1200">
          <a:solidFill>
            <a:schemeClr val="tx1"/>
          </a:solidFill>
          <a:latin typeface="Arial Black" panose="020B0604020202020204" pitchFamily="34" charset="0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104" userDrawn="1">
          <p15:clr>
            <a:srgbClr val="F26B43"/>
          </p15:clr>
        </p15:guide>
        <p15:guide id="2" pos="264" userDrawn="1">
          <p15:clr>
            <a:srgbClr val="9FCC3B"/>
          </p15:clr>
        </p15:guide>
        <p15:guide id="3" pos="3384" userDrawn="1">
          <p15:clr>
            <a:srgbClr val="547EBF"/>
          </p15:clr>
        </p15:guide>
        <p15:guide id="4" pos="7416" userDrawn="1">
          <p15:clr>
            <a:srgbClr val="9FCC3B"/>
          </p15:clr>
        </p15:guide>
        <p15:guide id="5" pos="3072" userDrawn="1">
          <p15:clr>
            <a:srgbClr val="F26B43"/>
          </p15:clr>
        </p15:guide>
        <p15:guide id="6" pos="2712" userDrawn="1">
          <p15:clr>
            <a:srgbClr val="547EBF"/>
          </p15:clr>
        </p15:guide>
        <p15:guide id="7" pos="2448" userDrawn="1">
          <p15:clr>
            <a:srgbClr val="F26B43"/>
          </p15:clr>
        </p15:guide>
        <p15:guide id="8" pos="3024" userDrawn="1">
          <p15:clr>
            <a:srgbClr val="F26B43"/>
          </p15:clr>
        </p15:guide>
        <p15:guide id="9" pos="3336" userDrawn="1">
          <p15:clr>
            <a:srgbClr val="547EBF"/>
          </p15:clr>
        </p15:guide>
        <p15:guide id="10" pos="2400" userDrawn="1">
          <p15:clr>
            <a:srgbClr val="F26B43"/>
          </p15:clr>
        </p15:guide>
        <p15:guide id="11" pos="2760" userDrawn="1">
          <p15:clr>
            <a:srgbClr val="547EBF"/>
          </p15:clr>
        </p15:guide>
        <p15:guide id="12" pos="1824" userDrawn="1">
          <p15:clr>
            <a:srgbClr val="F26B43"/>
          </p15:clr>
        </p15:guide>
        <p15:guide id="13" pos="1464" userDrawn="1">
          <p15:clr>
            <a:srgbClr val="547EBF"/>
          </p15:clr>
        </p15:guide>
        <p15:guide id="14" pos="1200" userDrawn="1">
          <p15:clr>
            <a:srgbClr val="F26B43"/>
          </p15:clr>
        </p15:guide>
        <p15:guide id="15" pos="528" userDrawn="1">
          <p15:clr>
            <a:srgbClr val="F26B43"/>
          </p15:clr>
        </p15:guide>
        <p15:guide id="16" pos="840" userDrawn="1">
          <p15:clr>
            <a:srgbClr val="547EBF"/>
          </p15:clr>
        </p15:guide>
        <p15:guide id="17" pos="576" userDrawn="1">
          <p15:clr>
            <a:srgbClr val="F26B43"/>
          </p15:clr>
        </p15:guide>
        <p15:guide id="19" pos="888" userDrawn="1">
          <p15:clr>
            <a:srgbClr val="547EBF"/>
          </p15:clr>
        </p15:guide>
        <p15:guide id="20" pos="1152" userDrawn="1">
          <p15:clr>
            <a:srgbClr val="F26B43"/>
          </p15:clr>
        </p15:guide>
        <p15:guide id="21" pos="1512" userDrawn="1">
          <p15:clr>
            <a:srgbClr val="547EBF"/>
          </p15:clr>
        </p15:guide>
        <p15:guide id="22" pos="1776" userDrawn="1">
          <p15:clr>
            <a:srgbClr val="F26B43"/>
          </p15:clr>
        </p15:guide>
        <p15:guide id="23" pos="2088" userDrawn="1">
          <p15:clr>
            <a:srgbClr val="547EBF"/>
          </p15:clr>
        </p15:guide>
        <p15:guide id="24" pos="2136" userDrawn="1">
          <p15:clr>
            <a:srgbClr val="547EBF"/>
          </p15:clr>
        </p15:guide>
        <p15:guide id="25" orient="horz" pos="3072" userDrawn="1">
          <p15:clr>
            <a:srgbClr val="F26B43"/>
          </p15:clr>
        </p15:guide>
        <p15:guide id="26" orient="horz" pos="2448" userDrawn="1">
          <p15:clr>
            <a:srgbClr val="F26B43"/>
          </p15:clr>
        </p15:guide>
        <p15:guide id="27" orient="horz" pos="312" userDrawn="1">
          <p15:clr>
            <a:srgbClr val="9FCC3B"/>
          </p15:clr>
        </p15:guide>
        <p15:guide id="28" orient="horz" pos="2496" userDrawn="1">
          <p15:clr>
            <a:srgbClr val="F26B43"/>
          </p15:clr>
        </p15:guide>
        <p15:guide id="29" orient="horz" pos="3120" userDrawn="1">
          <p15:clr>
            <a:srgbClr val="F26B43"/>
          </p15:clr>
        </p15:guide>
        <p15:guide id="30" orient="horz" pos="4008" userDrawn="1">
          <p15:clr>
            <a:srgbClr val="9FCC3B"/>
          </p15:clr>
        </p15:guide>
        <p15:guide id="31" orient="horz" pos="2760" userDrawn="1">
          <p15:clr>
            <a:srgbClr val="547EBF"/>
          </p15:clr>
        </p15:guide>
        <p15:guide id="32" orient="horz" pos="2808" userDrawn="1">
          <p15:clr>
            <a:srgbClr val="547EBF"/>
          </p15:clr>
        </p15:guide>
        <p15:guide id="33" pos="7152" userDrawn="1">
          <p15:clr>
            <a:srgbClr val="F26B43"/>
          </p15:clr>
        </p15:guide>
        <p15:guide id="34" pos="5592" userDrawn="1">
          <p15:clr>
            <a:srgbClr val="547EBF"/>
          </p15:clr>
        </p15:guide>
        <p15:guide id="35" pos="5544" userDrawn="1">
          <p15:clr>
            <a:srgbClr val="547EBF"/>
          </p15:clr>
        </p15:guide>
        <p15:guide id="36" pos="5904" userDrawn="1">
          <p15:clr>
            <a:srgbClr val="F26B43"/>
          </p15:clr>
        </p15:guide>
        <p15:guide id="37" pos="5856" userDrawn="1">
          <p15:clr>
            <a:srgbClr val="F26B43"/>
          </p15:clr>
        </p15:guide>
        <p15:guide id="38" pos="6216" userDrawn="1">
          <p15:clr>
            <a:srgbClr val="547EBF"/>
          </p15:clr>
        </p15:guide>
        <p15:guide id="39" pos="6168" userDrawn="1">
          <p15:clr>
            <a:srgbClr val="547EBF"/>
          </p15:clr>
        </p15:guide>
        <p15:guide id="40" pos="6792" userDrawn="1">
          <p15:clr>
            <a:srgbClr val="547EBF"/>
          </p15:clr>
        </p15:guide>
        <p15:guide id="41" pos="6840" userDrawn="1">
          <p15:clr>
            <a:srgbClr val="547EBF"/>
          </p15:clr>
        </p15:guide>
        <p15:guide id="42" pos="6480" userDrawn="1">
          <p15:clr>
            <a:srgbClr val="F26B43"/>
          </p15:clr>
        </p15:guide>
        <p15:guide id="43" pos="6528" userDrawn="1">
          <p15:clr>
            <a:srgbClr val="F26B43"/>
          </p15:clr>
        </p15:guide>
        <p15:guide id="44" pos="4344" userDrawn="1">
          <p15:clr>
            <a:srgbClr val="547EBF"/>
          </p15:clr>
        </p15:guide>
        <p15:guide id="45" pos="4608" userDrawn="1">
          <p15:clr>
            <a:srgbClr val="F26B43"/>
          </p15:clr>
        </p15:guide>
        <p15:guide id="46" pos="4656" userDrawn="1">
          <p15:clr>
            <a:srgbClr val="F26B43"/>
          </p15:clr>
        </p15:guide>
        <p15:guide id="47" pos="4920" userDrawn="1">
          <p15:clr>
            <a:srgbClr val="547EBF"/>
          </p15:clr>
        </p15:guide>
        <p15:guide id="48" pos="4968" userDrawn="1">
          <p15:clr>
            <a:srgbClr val="547EBF"/>
          </p15:clr>
        </p15:guide>
        <p15:guide id="49" pos="5280" userDrawn="1">
          <p15:clr>
            <a:srgbClr val="F26B43"/>
          </p15:clr>
        </p15:guide>
        <p15:guide id="50" pos="5232" userDrawn="1">
          <p15:clr>
            <a:srgbClr val="F26B43"/>
          </p15:clr>
        </p15:guide>
        <p15:guide id="51" pos="3648" userDrawn="1">
          <p15:clr>
            <a:srgbClr val="F26B43"/>
          </p15:clr>
        </p15:guide>
        <p15:guide id="52" pos="3696" userDrawn="1">
          <p15:clr>
            <a:srgbClr val="F26B43"/>
          </p15:clr>
        </p15:guide>
        <p15:guide id="53" pos="3984" userDrawn="1">
          <p15:clr>
            <a:srgbClr val="F26B43"/>
          </p15:clr>
        </p15:guide>
        <p15:guide id="54" pos="4296" userDrawn="1">
          <p15:clr>
            <a:srgbClr val="547EBF"/>
          </p15:clr>
        </p15:guide>
        <p15:guide id="56" pos="3840" userDrawn="1">
          <p15:clr>
            <a:srgbClr val="547EBF"/>
          </p15:clr>
        </p15:guide>
        <p15:guide id="57" pos="4032" userDrawn="1">
          <p15:clr>
            <a:srgbClr val="F26B43"/>
          </p15:clr>
        </p15:guide>
        <p15:guide id="58" orient="horz" pos="1248" userDrawn="1">
          <p15:clr>
            <a:srgbClr val="F26B43"/>
          </p15:clr>
        </p15:guide>
        <p15:guide id="59" orient="horz" pos="1200" userDrawn="1">
          <p15:clr>
            <a:srgbClr val="F26B43"/>
          </p15:clr>
        </p15:guide>
        <p15:guide id="60" orient="horz" pos="1560" userDrawn="1">
          <p15:clr>
            <a:srgbClr val="547EBF"/>
          </p15:clr>
        </p15:guide>
        <p15:guide id="61" orient="horz" pos="1512" userDrawn="1">
          <p15:clr>
            <a:srgbClr val="547EBF"/>
          </p15:clr>
        </p15:guide>
        <p15:guide id="62" orient="horz" pos="1824" userDrawn="1">
          <p15:clr>
            <a:srgbClr val="F26B43"/>
          </p15:clr>
        </p15:guide>
        <p15:guide id="63" orient="horz" pos="1872" userDrawn="1">
          <p15:clr>
            <a:srgbClr val="F26B43"/>
          </p15:clr>
        </p15:guide>
        <p15:guide id="64" orient="horz" pos="2136" userDrawn="1">
          <p15:clr>
            <a:srgbClr val="547EBF"/>
          </p15:clr>
        </p15:guide>
        <p15:guide id="65" orient="horz" pos="2184" userDrawn="1">
          <p15:clr>
            <a:srgbClr val="547EBF"/>
          </p15:clr>
        </p15:guide>
        <p15:guide id="66" orient="horz" pos="576" userDrawn="1">
          <p15:clr>
            <a:srgbClr val="F26B43"/>
          </p15:clr>
        </p15:guide>
        <p15:guide id="67" orient="horz" pos="624" userDrawn="1">
          <p15:clr>
            <a:srgbClr val="F26B43"/>
          </p15:clr>
        </p15:guide>
        <p15:guide id="68" orient="horz" pos="936" userDrawn="1">
          <p15:clr>
            <a:srgbClr val="547EBF"/>
          </p15:clr>
        </p15:guide>
        <p15:guide id="69" orient="horz" pos="888" userDrawn="1">
          <p15:clr>
            <a:srgbClr val="547EBF"/>
          </p15:clr>
        </p15:guide>
        <p15:guide id="70" orient="horz" pos="3384" userDrawn="1">
          <p15:clr>
            <a:srgbClr val="547EBF"/>
          </p15:clr>
        </p15:guide>
        <p15:guide id="71" orient="horz" pos="3432" userDrawn="1">
          <p15:clr>
            <a:srgbClr val="547EBF"/>
          </p15:clr>
        </p15:guide>
        <p15:guide id="72" orient="horz" pos="3696" userDrawn="1">
          <p15:clr>
            <a:srgbClr val="F26B43"/>
          </p15:clr>
        </p15:guide>
        <p15:guide id="73" orient="horz" pos="37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image" Target="../media/image11.png"/><Relationship Id="rId7" Type="http://schemas.openxmlformats.org/officeDocument/2006/relationships/image" Target="../media/image15.svg"/><Relationship Id="rId12" Type="http://schemas.openxmlformats.org/officeDocument/2006/relationships/image" Target="../media/image20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sv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microsoft.com/office/2018/10/relationships/comments" Target="../comments/modernComment_7FFFCC8D_BC75EA8E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88ABE47-2957-5CB5-A125-1ED5ADBC0C9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>
                <a:latin typeface="Arial Black"/>
              </a:rPr>
              <a:t>UNIFIED EXPERIENCE PLATFORM (UXP)</a:t>
            </a:r>
            <a:endParaRPr lang="en-GB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EE31DF6F-F7A3-E694-F738-AC107D3A62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latin typeface="Arial"/>
                <a:cs typeface="Arial"/>
              </a:rPr>
              <a:t>MARCH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853262-24C2-EFED-A242-F3BD13CE3E8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138113"/>
            <a:ext cx="2743200" cy="365125"/>
          </a:xfrm>
        </p:spPr>
        <p:txBody>
          <a:bodyPr/>
          <a:lstStyle/>
          <a:p>
            <a:fld id="{28A7D70B-BA5B-454D-9E9C-85AA311AB7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0927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61F8F3-FE53-C755-619E-EB3AD49CF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>
                <a:latin typeface="Arial Black"/>
              </a:rPr>
              <a:t>Features and wish lists</a:t>
            </a:r>
            <a:endParaRPr lang="en-US" sz="20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81B5F7-1ADD-BBBB-9999-ADB1E92C19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280831"/>
            <a:ext cx="11353800" cy="4381499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What features do you think would streamline the event planning and tracking process for you?</a:t>
            </a:r>
          </a:p>
          <a:p>
            <a:r>
              <a:rPr lang="en-US">
                <a:latin typeface="Arial"/>
                <a:cs typeface="Arial"/>
              </a:rPr>
              <a:t>Are there specific functionalities that you consider essential for your role managing events?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latin typeface="Arial"/>
                <a:cs typeface="Arial"/>
              </a:rPr>
              <a:t>How would you prioritize these features based on importance?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BC6D08-9158-0289-8E9C-11603D884A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0393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557EEF6-07E1-F7EA-3779-6A6EDEECC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39" y="381307"/>
            <a:ext cx="11353800" cy="5859916"/>
          </a:xfrm>
        </p:spPr>
        <p:txBody>
          <a:bodyPr/>
          <a:lstStyle/>
          <a:p>
            <a:r>
              <a:rPr lang="en-GB">
                <a:latin typeface="Arial Black"/>
              </a:rPr>
              <a:t>THANK YOU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1C845B-4AD0-6BF3-7663-7F7C3ECC8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7034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B063D7F-8931-03FE-EA3A-1B4EE743F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DAY</a:t>
            </a:r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AA9B756-059D-AD49-0767-BA7CF1DD45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409700"/>
            <a:ext cx="5269319" cy="4381499"/>
          </a:xfrm>
        </p:spPr>
        <p:txBody>
          <a:bodyPr/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0" i="0">
                <a:effectLst/>
              </a:rPr>
              <a:t>Momentum gathers meaningful post-event metrics by unifying data from different sources.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40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/>
              <a:t>Information is either </a:t>
            </a:r>
            <a:r>
              <a:rPr lang="en-US" sz="2400" b="1"/>
              <a:t>not available </a:t>
            </a:r>
            <a:r>
              <a:rPr lang="en-US" sz="2400"/>
              <a:t>or </a:t>
            </a:r>
            <a:r>
              <a:rPr lang="en-US" sz="2400" b="1"/>
              <a:t>not shared in a timely manner.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400" b="1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1"/>
              <a:t>This limits Momentums spend and agility when generating insights.</a:t>
            </a:r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FAF9F0-4F63-CDCE-1D77-5EE7247F37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6" name="Picture 5" descr="House of cards">
            <a:extLst>
              <a:ext uri="{FF2B5EF4-FFF2-40B4-BE49-F238E27FC236}">
                <a16:creationId xmlns:a16="http://schemas.microsoft.com/office/drawing/2014/main" id="{82A67FDF-A0E7-A447-AAC1-F76415767A0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 t="13740"/>
          <a:stretch/>
        </p:blipFill>
        <p:spPr>
          <a:xfrm>
            <a:off x="6229215" y="10"/>
            <a:ext cx="5962785" cy="6857990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0611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4291E4E-7A28-5C57-742F-87B6FAAD4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Arial Black"/>
              </a:rPr>
              <a:t>UNIFIED EXPERIENCE DATA ECOSYSTEM 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40D572-BEF4-4FBA-FC0B-9DE1D2CDA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39419ED-5F27-FEFE-34EB-834A61C3AAB6}"/>
              </a:ext>
            </a:extLst>
          </p:cNvPr>
          <p:cNvSpPr txBox="1"/>
          <p:nvPr/>
        </p:nvSpPr>
        <p:spPr>
          <a:xfrm>
            <a:off x="277567" y="1480941"/>
            <a:ext cx="1814363" cy="185166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GB" sz="1000" b="1" i="1">
                <a:effectLst/>
                <a:latin typeface="Momo Neue"/>
                <a:ea typeface="Yu Mincho"/>
                <a:cs typeface="Arial"/>
              </a:rPr>
              <a:t>Unified Experience </a:t>
            </a:r>
            <a:r>
              <a:rPr lang="en-GB" sz="1000" b="1" i="1">
                <a:latin typeface="Momo Neue"/>
                <a:ea typeface="Yu Mincho"/>
                <a:cs typeface="Arial"/>
              </a:rPr>
              <a:t>Platform </a:t>
            </a:r>
            <a:r>
              <a:rPr lang="en-GB" sz="1000" b="1" i="1">
                <a:effectLst/>
                <a:latin typeface="Momo Neue"/>
                <a:ea typeface="Yu Mincho"/>
                <a:cs typeface="Arial"/>
              </a:rPr>
              <a:t>(</a:t>
            </a:r>
            <a:r>
              <a:rPr lang="en-GB" sz="1000" b="1" i="1">
                <a:latin typeface="Momo Neue"/>
                <a:ea typeface="Yu Mincho"/>
                <a:cs typeface="Arial"/>
              </a:rPr>
              <a:t>UXP</a:t>
            </a:r>
            <a:r>
              <a:rPr lang="en-GB" sz="1000" b="1" i="1">
                <a:effectLst/>
                <a:latin typeface="Momo Neue"/>
                <a:ea typeface="Yu Mincho"/>
                <a:cs typeface="Arial"/>
              </a:rPr>
              <a:t>) and Input Procedure</a:t>
            </a:r>
            <a:br>
              <a:rPr lang="en-GB" sz="1000" i="1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</a:br>
            <a:r>
              <a:rPr lang="en-GB" sz="1000" i="1">
                <a:effectLst/>
                <a:latin typeface="Momo Neue"/>
                <a:ea typeface="Yu Mincho"/>
                <a:cs typeface="Arial"/>
              </a:rPr>
              <a:t>A front-end Input application and organization-wide process/system for collecting Activation Details and information: Activation Name, Activation Date, Activation Client, and Activation Location.</a:t>
            </a:r>
            <a:r>
              <a:rPr lang="en-GB" sz="1000" i="1">
                <a:latin typeface="Momo Neue"/>
                <a:ea typeface="Yu Mincho"/>
                <a:cs typeface="Arial"/>
              </a:rPr>
              <a:t> </a:t>
            </a:r>
            <a:endParaRPr lang="en-GB" sz="1000" i="1">
              <a:effectLst/>
              <a:latin typeface="Calibri" panose="020F050202020403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</p:txBody>
      </p:sp>
      <p:pic>
        <p:nvPicPr>
          <p:cNvPr id="12" name="Picture 11" descr="Shape&#10;&#10;Description automatically generated with low confidence">
            <a:extLst>
              <a:ext uri="{FF2B5EF4-FFF2-40B4-BE49-F238E27FC236}">
                <a16:creationId xmlns:a16="http://schemas.microsoft.com/office/drawing/2014/main" id="{3325BF65-8019-96FA-CDF5-AF1C4467263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47" t="6000" r="6000" b="24755"/>
          <a:stretch/>
        </p:blipFill>
        <p:spPr>
          <a:xfrm>
            <a:off x="2044065" y="1516411"/>
            <a:ext cx="1420777" cy="958957"/>
          </a:xfrm>
          <a:prstGeom prst="rect">
            <a:avLst/>
          </a:prstGeom>
        </p:spPr>
      </p:pic>
      <p:pic>
        <p:nvPicPr>
          <p:cNvPr id="26" name="Picture 25" descr="Shape&#10;&#10;Description automatically generated with low confidence">
            <a:extLst>
              <a:ext uri="{FF2B5EF4-FFF2-40B4-BE49-F238E27FC236}">
                <a16:creationId xmlns:a16="http://schemas.microsoft.com/office/drawing/2014/main" id="{5387951C-15AC-85E6-90F0-F1BEB18637C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161" t="8212" r="30356" b="35301"/>
          <a:stretch/>
        </p:blipFill>
        <p:spPr>
          <a:xfrm>
            <a:off x="2041435" y="3597752"/>
            <a:ext cx="834264" cy="1182597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76AD3EBF-BD94-733B-5604-8C190D17F7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23350" y="2823646"/>
            <a:ext cx="849883" cy="849883"/>
          </a:xfrm>
          <a:prstGeom prst="rect">
            <a:avLst/>
          </a:prstGeom>
        </p:spPr>
      </p:pic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4114827-8961-436E-D983-45D92B0E8600}"/>
              </a:ext>
            </a:extLst>
          </p:cNvPr>
          <p:cNvCxnSpPr>
            <a:cxnSpLocks/>
          </p:cNvCxnSpPr>
          <p:nvPr/>
        </p:nvCxnSpPr>
        <p:spPr>
          <a:xfrm>
            <a:off x="3074483" y="2456995"/>
            <a:ext cx="253066" cy="306954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21A86C4-9CF9-72E0-6EE0-A63755BBA5D7}"/>
              </a:ext>
            </a:extLst>
          </p:cNvPr>
          <p:cNvGrpSpPr/>
          <p:nvPr/>
        </p:nvGrpSpPr>
        <p:grpSpPr>
          <a:xfrm>
            <a:off x="6061173" y="2010611"/>
            <a:ext cx="1686959" cy="2006565"/>
            <a:chOff x="6170899" y="2616435"/>
            <a:chExt cx="1161066" cy="1381038"/>
          </a:xfrm>
        </p:grpSpPr>
        <p:pic>
          <p:nvPicPr>
            <p:cNvPr id="9" name="Graphic 8" descr="Database outline">
              <a:extLst>
                <a:ext uri="{FF2B5EF4-FFF2-40B4-BE49-F238E27FC236}">
                  <a16:creationId xmlns:a16="http://schemas.microsoft.com/office/drawing/2014/main" id="{C3EE5FEE-6148-F4A4-81C5-F6A6B5A3C5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193036" y="2880681"/>
              <a:ext cx="1116792" cy="1116792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BAB3C68-3AA6-4F99-26A0-71C20742B233}"/>
                </a:ext>
              </a:extLst>
            </p:cNvPr>
            <p:cNvSpPr txBox="1"/>
            <p:nvPr/>
          </p:nvSpPr>
          <p:spPr>
            <a:xfrm>
              <a:off x="6170899" y="2616435"/>
              <a:ext cx="1161066" cy="360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i="1">
                  <a:effectLst/>
                  <a:latin typeface="+mj-lt"/>
                  <a:ea typeface="Calibri" panose="020F0502020204030204" pitchFamily="34" charset="0"/>
                  <a:cs typeface="Arial" panose="020B0604020202020204" pitchFamily="34" charset="0"/>
                </a:rPr>
                <a:t>Unified Experience Data </a:t>
              </a:r>
            </a:p>
          </p:txBody>
        </p:sp>
      </p:grpSp>
      <p:grpSp>
        <p:nvGrpSpPr>
          <p:cNvPr id="17423" name="Group 17422">
            <a:extLst>
              <a:ext uri="{FF2B5EF4-FFF2-40B4-BE49-F238E27FC236}">
                <a16:creationId xmlns:a16="http://schemas.microsoft.com/office/drawing/2014/main" id="{C704B168-6437-02EE-0E2C-CE6E57A38E9C}"/>
              </a:ext>
            </a:extLst>
          </p:cNvPr>
          <p:cNvGrpSpPr/>
          <p:nvPr/>
        </p:nvGrpSpPr>
        <p:grpSpPr>
          <a:xfrm>
            <a:off x="9284450" y="2377336"/>
            <a:ext cx="2129470" cy="1742502"/>
            <a:chOff x="8528364" y="3352909"/>
            <a:chExt cx="2474516" cy="2024846"/>
          </a:xfrm>
        </p:grpSpPr>
        <p:sp>
          <p:nvSpPr>
            <p:cNvPr id="17422" name="Rectangle: Rounded Corners 17421">
              <a:extLst>
                <a:ext uri="{FF2B5EF4-FFF2-40B4-BE49-F238E27FC236}">
                  <a16:creationId xmlns:a16="http://schemas.microsoft.com/office/drawing/2014/main" id="{89D67E92-FC35-9BEB-A0CF-8C57A75FACFA}"/>
                </a:ext>
              </a:extLst>
            </p:cNvPr>
            <p:cNvSpPr/>
            <p:nvPr/>
          </p:nvSpPr>
          <p:spPr>
            <a:xfrm>
              <a:off x="8528364" y="3352909"/>
              <a:ext cx="2474516" cy="2024846"/>
            </a:xfrm>
            <a:prstGeom prst="round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7418" name="Picture 10">
              <a:extLst>
                <a:ext uri="{FF2B5EF4-FFF2-40B4-BE49-F238E27FC236}">
                  <a16:creationId xmlns:a16="http://schemas.microsoft.com/office/drawing/2014/main" id="{74F9D913-2DE7-A74C-BD7E-5BEC9A231D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64372" y="3533587"/>
              <a:ext cx="1817679" cy="18176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0190B1A9-2372-4A5B-0046-DB0DAD00EFAF}"/>
              </a:ext>
            </a:extLst>
          </p:cNvPr>
          <p:cNvCxnSpPr>
            <a:cxnSpLocks/>
          </p:cNvCxnSpPr>
          <p:nvPr/>
        </p:nvCxnSpPr>
        <p:spPr>
          <a:xfrm flipH="1">
            <a:off x="3101982" y="3706278"/>
            <a:ext cx="225567" cy="292548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623A803B-CE6B-E436-2035-367BFAC31920}"/>
              </a:ext>
            </a:extLst>
          </p:cNvPr>
          <p:cNvCxnSpPr>
            <a:cxnSpLocks/>
          </p:cNvCxnSpPr>
          <p:nvPr/>
        </p:nvCxnSpPr>
        <p:spPr>
          <a:xfrm flipH="1">
            <a:off x="4148594" y="3269249"/>
            <a:ext cx="2052689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410" name="Straight Arrow Connector 17409">
            <a:extLst>
              <a:ext uri="{FF2B5EF4-FFF2-40B4-BE49-F238E27FC236}">
                <a16:creationId xmlns:a16="http://schemas.microsoft.com/office/drawing/2014/main" id="{B5C6D99A-4CE1-D8F4-8B92-74DC5EAFF035}"/>
              </a:ext>
            </a:extLst>
          </p:cNvPr>
          <p:cNvCxnSpPr>
            <a:cxnSpLocks/>
          </p:cNvCxnSpPr>
          <p:nvPr/>
        </p:nvCxnSpPr>
        <p:spPr>
          <a:xfrm>
            <a:off x="7487107" y="3295617"/>
            <a:ext cx="912614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17427" name="Group 17426">
            <a:extLst>
              <a:ext uri="{FF2B5EF4-FFF2-40B4-BE49-F238E27FC236}">
                <a16:creationId xmlns:a16="http://schemas.microsoft.com/office/drawing/2014/main" id="{1E766FC4-9957-1117-EC6E-5E0FCA2A2B45}"/>
              </a:ext>
            </a:extLst>
          </p:cNvPr>
          <p:cNvGrpSpPr/>
          <p:nvPr/>
        </p:nvGrpSpPr>
        <p:grpSpPr>
          <a:xfrm>
            <a:off x="9284450" y="801565"/>
            <a:ext cx="2129471" cy="1396373"/>
            <a:chOff x="8528364" y="1569897"/>
            <a:chExt cx="2474516" cy="1622632"/>
          </a:xfrm>
        </p:grpSpPr>
        <p:sp>
          <p:nvSpPr>
            <p:cNvPr id="17425" name="Rectangle: Rounded Corners 17424">
              <a:extLst>
                <a:ext uri="{FF2B5EF4-FFF2-40B4-BE49-F238E27FC236}">
                  <a16:creationId xmlns:a16="http://schemas.microsoft.com/office/drawing/2014/main" id="{C370189D-DA73-3188-BA4E-9FAF86CD1054}"/>
                </a:ext>
              </a:extLst>
            </p:cNvPr>
            <p:cNvSpPr/>
            <p:nvPr/>
          </p:nvSpPr>
          <p:spPr>
            <a:xfrm>
              <a:off x="8528364" y="1569897"/>
              <a:ext cx="2474516" cy="1622632"/>
            </a:xfrm>
            <a:prstGeom prst="round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7421" name="Picture 12" descr="Events Calendar Year View Demo | Timely">
              <a:extLst>
                <a:ext uri="{FF2B5EF4-FFF2-40B4-BE49-F238E27FC236}">
                  <a16:creationId xmlns:a16="http://schemas.microsoft.com/office/drawing/2014/main" id="{6A48D35B-D24F-4BE8-1B47-674E8979F80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79" t="12777" r="6993" b="15467"/>
            <a:stretch/>
          </p:blipFill>
          <p:spPr bwMode="auto">
            <a:xfrm>
              <a:off x="8727237" y="1833430"/>
              <a:ext cx="2146514" cy="1270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431" name="Group 17430">
            <a:extLst>
              <a:ext uri="{FF2B5EF4-FFF2-40B4-BE49-F238E27FC236}">
                <a16:creationId xmlns:a16="http://schemas.microsoft.com/office/drawing/2014/main" id="{CA3620E5-69C9-ACC1-B290-CC32E21C6ED3}"/>
              </a:ext>
            </a:extLst>
          </p:cNvPr>
          <p:cNvGrpSpPr/>
          <p:nvPr/>
        </p:nvGrpSpPr>
        <p:grpSpPr>
          <a:xfrm>
            <a:off x="6168827" y="5051843"/>
            <a:ext cx="1461497" cy="838446"/>
            <a:chOff x="5814677" y="1458292"/>
            <a:chExt cx="2299862" cy="1319407"/>
          </a:xfrm>
        </p:grpSpPr>
        <p:pic>
          <p:nvPicPr>
            <p:cNvPr id="17428" name="Picture 14" descr="What are Azure Cognitive Services? - Azure Cognitive ...">
              <a:extLst>
                <a:ext uri="{FF2B5EF4-FFF2-40B4-BE49-F238E27FC236}">
                  <a16:creationId xmlns:a16="http://schemas.microsoft.com/office/drawing/2014/main" id="{5DD034A0-A75A-55D2-C617-D7DD83EDBBC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855" t="16039" r="24798" b="23566"/>
            <a:stretch/>
          </p:blipFill>
          <p:spPr bwMode="auto">
            <a:xfrm>
              <a:off x="6080443" y="1458292"/>
              <a:ext cx="1757651" cy="1054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430" name="TextBox 17429">
              <a:extLst>
                <a:ext uri="{FF2B5EF4-FFF2-40B4-BE49-F238E27FC236}">
                  <a16:creationId xmlns:a16="http://schemas.microsoft.com/office/drawing/2014/main" id="{11B95293-8575-A7E7-5EE6-91CDE2F8EBA0}"/>
                </a:ext>
              </a:extLst>
            </p:cNvPr>
            <p:cNvSpPr txBox="1"/>
            <p:nvPr/>
          </p:nvSpPr>
          <p:spPr>
            <a:xfrm>
              <a:off x="5814677" y="2447425"/>
              <a:ext cx="2299862" cy="330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100" b="1" i="1">
                  <a:effectLst/>
                  <a:latin typeface="+mj-lt"/>
                  <a:ea typeface="Calibri" panose="020F0502020204030204" pitchFamily="34" charset="0"/>
                  <a:cs typeface="Arial" panose="020B0604020202020204" pitchFamily="34" charset="0"/>
                </a:rPr>
                <a:t>Cognitive </a:t>
              </a:r>
              <a:r>
                <a:rPr lang="en-GB" sz="1100" b="1" i="1">
                  <a:latin typeface="+mj-lt"/>
                  <a:ea typeface="Calibri" panose="020F0502020204030204" pitchFamily="34" charset="0"/>
                  <a:cs typeface="Arial" panose="020B0604020202020204" pitchFamily="34" charset="0"/>
                </a:rPr>
                <a:t>S</a:t>
              </a:r>
              <a:r>
                <a:rPr lang="en-GB" sz="1100" b="1" i="1">
                  <a:effectLst/>
                  <a:latin typeface="+mj-lt"/>
                  <a:ea typeface="Calibri" panose="020F0502020204030204" pitchFamily="34" charset="0"/>
                  <a:cs typeface="Arial" panose="020B0604020202020204" pitchFamily="34" charset="0"/>
                </a:rPr>
                <a:t>ervices</a:t>
              </a:r>
            </a:p>
          </p:txBody>
        </p:sp>
      </p:grpSp>
      <p:pic>
        <p:nvPicPr>
          <p:cNvPr id="17436" name="Picture 17435" descr="Logo&#10;&#10;Description automatically generated">
            <a:extLst>
              <a:ext uri="{FF2B5EF4-FFF2-40B4-BE49-F238E27FC236}">
                <a16:creationId xmlns:a16="http://schemas.microsoft.com/office/drawing/2014/main" id="{79383673-DEAD-737F-5368-FFC6E724D06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36062" y="3063385"/>
            <a:ext cx="527029" cy="527282"/>
          </a:xfrm>
          <a:prstGeom prst="rect">
            <a:avLst/>
          </a:prstGeom>
        </p:spPr>
      </p:pic>
      <p:grpSp>
        <p:nvGrpSpPr>
          <p:cNvPr id="17445" name="Group 17444">
            <a:extLst>
              <a:ext uri="{FF2B5EF4-FFF2-40B4-BE49-F238E27FC236}">
                <a16:creationId xmlns:a16="http://schemas.microsoft.com/office/drawing/2014/main" id="{F8D07C16-7D66-DB07-82D2-3C0B5AF69DDF}"/>
              </a:ext>
            </a:extLst>
          </p:cNvPr>
          <p:cNvGrpSpPr/>
          <p:nvPr/>
        </p:nvGrpSpPr>
        <p:grpSpPr>
          <a:xfrm>
            <a:off x="9266543" y="4344799"/>
            <a:ext cx="2147377" cy="1757155"/>
            <a:chOff x="8528364" y="4728927"/>
            <a:chExt cx="2147377" cy="1757155"/>
          </a:xfrm>
        </p:grpSpPr>
        <p:sp>
          <p:nvSpPr>
            <p:cNvPr id="17442" name="Rectangle: Rounded Corners 17441">
              <a:extLst>
                <a:ext uri="{FF2B5EF4-FFF2-40B4-BE49-F238E27FC236}">
                  <a16:creationId xmlns:a16="http://schemas.microsoft.com/office/drawing/2014/main" id="{B0D7E532-B4AD-7476-90F8-042582717ED1}"/>
                </a:ext>
              </a:extLst>
            </p:cNvPr>
            <p:cNvSpPr/>
            <p:nvPr/>
          </p:nvSpPr>
          <p:spPr>
            <a:xfrm>
              <a:off x="8528364" y="4728927"/>
              <a:ext cx="2147377" cy="1757155"/>
            </a:xfrm>
            <a:prstGeom prst="round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7444" name="Picture 18" descr="Premium Vector | Flat chat bot for web design flat isometric vector  illustration artificial intelligence">
              <a:extLst>
                <a:ext uri="{FF2B5EF4-FFF2-40B4-BE49-F238E27FC236}">
                  <a16:creationId xmlns:a16="http://schemas.microsoft.com/office/drawing/2014/main" id="{8A00B606-9EDC-C20F-82EA-2EEB8C9320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23205" y="4969158"/>
              <a:ext cx="1786383" cy="1477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446" name="TextBox 17445">
            <a:extLst>
              <a:ext uri="{FF2B5EF4-FFF2-40B4-BE49-F238E27FC236}">
                <a16:creationId xmlns:a16="http://schemas.microsoft.com/office/drawing/2014/main" id="{842868ED-AD25-1D88-9F7C-D4D598EA9168}"/>
              </a:ext>
            </a:extLst>
          </p:cNvPr>
          <p:cNvSpPr txBox="1"/>
          <p:nvPr/>
        </p:nvSpPr>
        <p:spPr>
          <a:xfrm>
            <a:off x="9393503" y="810702"/>
            <a:ext cx="195796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i="1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ctivation Schedule</a:t>
            </a:r>
          </a:p>
        </p:txBody>
      </p:sp>
      <p:sp>
        <p:nvSpPr>
          <p:cNvPr id="17447" name="TextBox 17446">
            <a:extLst>
              <a:ext uri="{FF2B5EF4-FFF2-40B4-BE49-F238E27FC236}">
                <a16:creationId xmlns:a16="http://schemas.microsoft.com/office/drawing/2014/main" id="{F462FB9B-73ED-EE43-B2FE-95839315AD8A}"/>
              </a:ext>
            </a:extLst>
          </p:cNvPr>
          <p:cNvSpPr txBox="1"/>
          <p:nvPr/>
        </p:nvSpPr>
        <p:spPr>
          <a:xfrm>
            <a:off x="9376736" y="2356552"/>
            <a:ext cx="195796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i="1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ctivation Insights</a:t>
            </a:r>
          </a:p>
        </p:txBody>
      </p:sp>
      <p:sp>
        <p:nvSpPr>
          <p:cNvPr id="17448" name="TextBox 17447">
            <a:extLst>
              <a:ext uri="{FF2B5EF4-FFF2-40B4-BE49-F238E27FC236}">
                <a16:creationId xmlns:a16="http://schemas.microsoft.com/office/drawing/2014/main" id="{5571E017-C427-AA6C-61E9-7C6FD8BD94BB}"/>
              </a:ext>
            </a:extLst>
          </p:cNvPr>
          <p:cNvSpPr txBox="1"/>
          <p:nvPr/>
        </p:nvSpPr>
        <p:spPr>
          <a:xfrm>
            <a:off x="9356793" y="4344799"/>
            <a:ext cx="195796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i="1">
                <a:latin typeface="+mj-lt"/>
                <a:cs typeface="Arial" panose="020B0604020202020204" pitchFamily="34" charset="0"/>
              </a:rPr>
              <a:t>Conversational Insights</a:t>
            </a:r>
          </a:p>
        </p:txBody>
      </p:sp>
      <p:cxnSp>
        <p:nvCxnSpPr>
          <p:cNvPr id="17449" name="Straight Arrow Connector 17448">
            <a:extLst>
              <a:ext uri="{FF2B5EF4-FFF2-40B4-BE49-F238E27FC236}">
                <a16:creationId xmlns:a16="http://schemas.microsoft.com/office/drawing/2014/main" id="{976D89D6-317D-22C9-529B-41AB3294C1C4}"/>
              </a:ext>
            </a:extLst>
          </p:cNvPr>
          <p:cNvCxnSpPr>
            <a:cxnSpLocks/>
            <a:stCxn id="9" idx="2"/>
          </p:cNvCxnSpPr>
          <p:nvPr/>
        </p:nvCxnSpPr>
        <p:spPr>
          <a:xfrm flipH="1">
            <a:off x="6899576" y="4017176"/>
            <a:ext cx="5077" cy="902523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7462" name="Left Brace 17461">
            <a:extLst>
              <a:ext uri="{FF2B5EF4-FFF2-40B4-BE49-F238E27FC236}">
                <a16:creationId xmlns:a16="http://schemas.microsoft.com/office/drawing/2014/main" id="{F27AD8AF-A1B7-EC92-B4A3-0C47BA071C4D}"/>
              </a:ext>
            </a:extLst>
          </p:cNvPr>
          <p:cNvSpPr/>
          <p:nvPr/>
        </p:nvSpPr>
        <p:spPr>
          <a:xfrm>
            <a:off x="8430391" y="1506944"/>
            <a:ext cx="623887" cy="3640164"/>
          </a:xfrm>
          <a:prstGeom prst="leftBrace">
            <a:avLst>
              <a:gd name="adj1" fmla="val 8333"/>
              <a:gd name="adj2" fmla="val 49124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970897-BA48-A608-693C-C026A2C0E96E}"/>
              </a:ext>
            </a:extLst>
          </p:cNvPr>
          <p:cNvSpPr txBox="1"/>
          <p:nvPr/>
        </p:nvSpPr>
        <p:spPr>
          <a:xfrm>
            <a:off x="277567" y="3998350"/>
            <a:ext cx="1814363" cy="18516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1000"/>
              </a:spcAft>
            </a:pPr>
            <a:r>
              <a:rPr lang="en-GB" sz="1000" b="1" i="1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  <a:t>Field Management</a:t>
            </a:r>
            <a:br>
              <a:rPr lang="en-GB" sz="1000" i="1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</a:br>
            <a:r>
              <a:rPr lang="en-GB" sz="1000" i="1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  <a:t>Portfolio-wide standardized system for managing </a:t>
            </a:r>
            <a:r>
              <a:rPr lang="en-GB" sz="1000" b="0" i="1">
                <a:solidFill>
                  <a:srgbClr val="374151"/>
                </a:solidFill>
                <a:effectLst/>
                <a:latin typeface="Söhne"/>
              </a:rPr>
              <a:t>event details, assets, and on-site wrap information. It includes a cloud/web-based tool accessible from anywhere for real-time updates and version control, eliminating the need for multiple spreadsheets. </a:t>
            </a:r>
            <a:endParaRPr lang="en-GB" sz="1000" i="1">
              <a:effectLst/>
              <a:latin typeface="Calibri" panose="020F050202020403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1556F7E-7CB3-F061-047F-4865923A0FAE}"/>
              </a:ext>
            </a:extLst>
          </p:cNvPr>
          <p:cNvSpPr txBox="1"/>
          <p:nvPr/>
        </p:nvSpPr>
        <p:spPr>
          <a:xfrm>
            <a:off x="360777" y="787985"/>
            <a:ext cx="856469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 b="0" i="0">
                <a:solidFill>
                  <a:srgbClr val="202124"/>
                </a:solidFill>
                <a:effectLst/>
                <a:latin typeface="+mj-lt"/>
              </a:rPr>
              <a:t>Unified data </a:t>
            </a:r>
            <a:r>
              <a:rPr lang="en-GB" sz="1100" b="0" i="0">
                <a:solidFill>
                  <a:srgbClr val="040C28"/>
                </a:solidFill>
                <a:effectLst/>
                <a:latin typeface="+mj-lt"/>
              </a:rPr>
              <a:t>aggregates data from disparate sources into a single view providing complete and accurate answers to critical questions</a:t>
            </a:r>
            <a:r>
              <a:rPr lang="en-GB" sz="1100">
                <a:solidFill>
                  <a:srgbClr val="040C28"/>
                </a:solidFill>
                <a:latin typeface="+mj-lt"/>
              </a:rPr>
              <a:t>.</a:t>
            </a:r>
            <a:endParaRPr lang="en-GB" sz="1100"/>
          </a:p>
        </p:txBody>
      </p:sp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97C3C2CA-D859-E34A-27DA-D02D6A34231F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b="17708"/>
          <a:stretch/>
        </p:blipFill>
        <p:spPr>
          <a:xfrm>
            <a:off x="3081965" y="4848507"/>
            <a:ext cx="1033652" cy="850134"/>
          </a:xfrm>
          <a:prstGeom prst="rect">
            <a:avLst/>
          </a:prstGeom>
        </p:spPr>
      </p:pic>
      <p:sp>
        <p:nvSpPr>
          <p:cNvPr id="5" name="TextBox 2">
            <a:extLst>
              <a:ext uri="{FF2B5EF4-FFF2-40B4-BE49-F238E27FC236}">
                <a16:creationId xmlns:a16="http://schemas.microsoft.com/office/drawing/2014/main" id="{452E8557-B775-FC3A-6981-1C18280DBC28}"/>
              </a:ext>
            </a:extLst>
          </p:cNvPr>
          <p:cNvSpPr txBox="1"/>
          <p:nvPr/>
        </p:nvSpPr>
        <p:spPr>
          <a:xfrm>
            <a:off x="2757607" y="5758627"/>
            <a:ext cx="1878432" cy="55399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 b="1" i="1">
                <a:latin typeface="Momo Neue"/>
                <a:ea typeface="Yu Mincho"/>
                <a:cs typeface="Arial"/>
              </a:rPr>
              <a:t>Other systems:</a:t>
            </a:r>
            <a:r>
              <a:rPr lang="en-GB" sz="1000" i="1">
                <a:latin typeface="Momo Neue"/>
                <a:ea typeface="Yu Mincho"/>
                <a:cs typeface="Arial"/>
              </a:rPr>
              <a:t> Walmart Hub, Splash, Placer data, Client owned systems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9B917884-5E43-60D9-EF23-A09763E844FE}"/>
              </a:ext>
            </a:extLst>
          </p:cNvPr>
          <p:cNvCxnSpPr>
            <a:cxnSpLocks/>
          </p:cNvCxnSpPr>
          <p:nvPr/>
        </p:nvCxnSpPr>
        <p:spPr>
          <a:xfrm>
            <a:off x="3657650" y="3854800"/>
            <a:ext cx="572" cy="745743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56757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B573FE-7E1F-9C32-FF7F-AE5D129FF9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BCFAAF-451A-8212-85A3-1F95DCE913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4</a:t>
            </a:fld>
            <a:endParaRPr lang="en-US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EC304C8-54CB-C96D-0602-46541641EA11}"/>
              </a:ext>
            </a:extLst>
          </p:cNvPr>
          <p:cNvGraphicFramePr/>
          <p:nvPr/>
        </p:nvGraphicFramePr>
        <p:xfrm>
          <a:off x="658812" y="507093"/>
          <a:ext cx="10874375" cy="5138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3" name="Arrow: Bent-Up 112">
            <a:extLst>
              <a:ext uri="{FF2B5EF4-FFF2-40B4-BE49-F238E27FC236}">
                <a16:creationId xmlns:a16="http://schemas.microsoft.com/office/drawing/2014/main" id="{D21688F6-4CD1-7786-2A84-25E9C6026327}"/>
              </a:ext>
            </a:extLst>
          </p:cNvPr>
          <p:cNvSpPr/>
          <p:nvPr/>
        </p:nvSpPr>
        <p:spPr>
          <a:xfrm flipH="1">
            <a:off x="1524000" y="5098674"/>
            <a:ext cx="907676" cy="425825"/>
          </a:xfrm>
          <a:prstGeom prst="bent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3D4D19C8-2560-4112-B1DD-50D598691A69}"/>
              </a:ext>
            </a:extLst>
          </p:cNvPr>
          <p:cNvSpPr/>
          <p:nvPr/>
        </p:nvSpPr>
        <p:spPr>
          <a:xfrm>
            <a:off x="1977837" y="5311588"/>
            <a:ext cx="1411941" cy="78441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cs typeface="Arial"/>
              </a:rPr>
              <a:t>Today, we are here </a:t>
            </a:r>
            <a:endParaRPr lang="en-US" sz="1200" b="1"/>
          </a:p>
        </p:txBody>
      </p:sp>
      <p:sp>
        <p:nvSpPr>
          <p:cNvPr id="115" name="Star: 5 Points 114">
            <a:extLst>
              <a:ext uri="{FF2B5EF4-FFF2-40B4-BE49-F238E27FC236}">
                <a16:creationId xmlns:a16="http://schemas.microsoft.com/office/drawing/2014/main" id="{2E4A140A-83E0-29F2-B07C-27B1E7F1CDFE}"/>
              </a:ext>
            </a:extLst>
          </p:cNvPr>
          <p:cNvSpPr/>
          <p:nvPr/>
        </p:nvSpPr>
        <p:spPr>
          <a:xfrm>
            <a:off x="5065059" y="4493557"/>
            <a:ext cx="1086969" cy="851648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>
                <a:cs typeface="Arial"/>
              </a:rPr>
              <a:t>In progress</a:t>
            </a:r>
          </a:p>
        </p:txBody>
      </p:sp>
      <p:sp>
        <p:nvSpPr>
          <p:cNvPr id="116" name="Star: 5 Points 114">
            <a:extLst>
              <a:ext uri="{FF2B5EF4-FFF2-40B4-BE49-F238E27FC236}">
                <a16:creationId xmlns:a16="http://schemas.microsoft.com/office/drawing/2014/main" id="{FF3810C1-CCD6-4D91-658A-4EC09C4468B3}"/>
              </a:ext>
            </a:extLst>
          </p:cNvPr>
          <p:cNvSpPr/>
          <p:nvPr/>
        </p:nvSpPr>
        <p:spPr>
          <a:xfrm>
            <a:off x="7832911" y="4493557"/>
            <a:ext cx="1086969" cy="851648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>
                <a:cs typeface="Arial"/>
              </a:rPr>
              <a:t>In progress</a:t>
            </a:r>
          </a:p>
        </p:txBody>
      </p:sp>
      <p:sp>
        <p:nvSpPr>
          <p:cNvPr id="117" name="Star: 5 Points 114">
            <a:extLst>
              <a:ext uri="{FF2B5EF4-FFF2-40B4-BE49-F238E27FC236}">
                <a16:creationId xmlns:a16="http://schemas.microsoft.com/office/drawing/2014/main" id="{E88DD43C-6B97-A9DE-AE9C-C4E56F1A7D7E}"/>
              </a:ext>
            </a:extLst>
          </p:cNvPr>
          <p:cNvSpPr/>
          <p:nvPr/>
        </p:nvSpPr>
        <p:spPr>
          <a:xfrm>
            <a:off x="10684808" y="4527174"/>
            <a:ext cx="1086969" cy="851648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>
                <a:cs typeface="Arial"/>
              </a:rPr>
              <a:t>In progress</a:t>
            </a:r>
          </a:p>
        </p:txBody>
      </p:sp>
    </p:spTree>
    <p:extLst>
      <p:ext uri="{BB962C8B-B14F-4D97-AF65-F5344CB8AC3E}">
        <p14:creationId xmlns:p14="http://schemas.microsoft.com/office/powerpoint/2010/main" val="316184436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557EEF6-07E1-F7EA-3779-6A6EDEECC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39" y="381307"/>
            <a:ext cx="11353800" cy="5859916"/>
          </a:xfrm>
        </p:spPr>
        <p:txBody>
          <a:bodyPr/>
          <a:lstStyle/>
          <a:p>
            <a:r>
              <a:rPr lang="en-GB">
                <a:latin typeface="Arial Black"/>
              </a:rPr>
              <a:t>DATA DISCOVERY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1C845B-4AD0-6BF3-7663-7F7C3ECC8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7695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D6B808-3ABD-39FE-498C-4B32E382A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000">
                <a:latin typeface="Calibri"/>
              </a:rPr>
              <a:t>Current Workflow (BL OR XP)</a:t>
            </a:r>
            <a:endParaRPr lang="en-US" sz="2000" b="0">
              <a:latin typeface="Calibri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52CDA9-EB20-9A27-DBC2-EDA88E233F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457200" lvl="1" indent="0">
              <a:spcAft>
                <a:spcPts val="0"/>
              </a:spcAft>
              <a:buNone/>
            </a:pPr>
            <a:endParaRPr lang="en-GB" sz="800" b="1">
              <a:cs typeface="Arial" panose="020B0604020202020204"/>
            </a:endParaRP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12E5E9-ADC2-A5C0-7901-C730CD681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B40792E-B0A6-8A0F-40BB-6E85E0B377D7}"/>
              </a:ext>
            </a:extLst>
          </p:cNvPr>
          <p:cNvSpPr txBox="1"/>
          <p:nvPr/>
        </p:nvSpPr>
        <p:spPr>
          <a:xfrm>
            <a:off x="886894" y="1070943"/>
            <a:ext cx="9746876" cy="223138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6"/>
            <a:endParaRPr lang="en-US" sz="1600">
              <a:latin typeface="Calibri"/>
              <a:ea typeface="Calibri"/>
              <a:cs typeface="Calibri"/>
            </a:endParaRPr>
          </a:p>
          <a:p>
            <a:pPr marL="285750" lvl="7" indent="-285750">
              <a:buFont typeface="Calibri"/>
              <a:buChar char="-"/>
            </a:pPr>
            <a:r>
              <a:rPr lang="en-GB" sz="1600" dirty="0">
                <a:latin typeface="Calibri"/>
                <a:ea typeface="Calibri"/>
                <a:cs typeface="Calibri"/>
              </a:rPr>
              <a:t>Describe the current process from client requesting/approving programs to execution.</a:t>
            </a:r>
            <a:r>
              <a:rPr lang="en-US" sz="1600" dirty="0">
                <a:latin typeface="Calibri"/>
                <a:ea typeface="Calibri"/>
                <a:cs typeface="Calibri"/>
              </a:rPr>
              <a:t> </a:t>
            </a:r>
          </a:p>
          <a:p>
            <a:pPr marL="285750" lvl="7" indent="-285750">
              <a:buFont typeface="Calibri"/>
              <a:buChar char="-"/>
            </a:pPr>
            <a:endParaRPr lang="en-US" sz="1600" dirty="0">
              <a:latin typeface="Calibri"/>
              <a:ea typeface="Calibri"/>
              <a:cs typeface="Calibri"/>
            </a:endParaRPr>
          </a:p>
          <a:p>
            <a:pPr marL="285750" lvl="7" indent="-285750">
              <a:buFont typeface="Calibri"/>
              <a:buChar char="-"/>
            </a:pPr>
            <a:endParaRPr lang="en-US" sz="1600">
              <a:latin typeface="Arial"/>
              <a:ea typeface="Calibri"/>
              <a:cs typeface="Calibri"/>
            </a:endParaRPr>
          </a:p>
          <a:p>
            <a:pPr>
              <a:buFont typeface="Arial"/>
              <a:buChar char="•"/>
            </a:pPr>
            <a:endParaRPr lang="en-US" sz="1100" b="1">
              <a:latin typeface="Arial"/>
              <a:ea typeface="Calibri"/>
              <a:cs typeface="Arial"/>
            </a:endParaRPr>
          </a:p>
          <a:p>
            <a:pPr marL="285750" lvl="7" indent="-285750">
              <a:buFont typeface="Calibri"/>
              <a:buChar char="-"/>
            </a:pPr>
            <a:r>
              <a:rPr lang="en-GB" sz="1600" dirty="0">
                <a:latin typeface="Calibri"/>
                <a:ea typeface="Calibri"/>
                <a:cs typeface="Calibri"/>
              </a:rPr>
              <a:t>What tools or methods are currently used for tracking events</a:t>
            </a:r>
            <a:r>
              <a:rPr lang="en-US" sz="1600" dirty="0">
                <a:latin typeface="Calibri"/>
                <a:ea typeface="Calibri"/>
                <a:cs typeface="Calibri"/>
              </a:rPr>
              <a:t> </a:t>
            </a:r>
          </a:p>
          <a:p>
            <a:pPr marL="285750" lvl="7" indent="-285750">
              <a:buFont typeface="Calibri"/>
              <a:buChar char="-"/>
            </a:pPr>
            <a:endParaRPr lang="en-US" sz="1600">
              <a:latin typeface="Calibri"/>
              <a:ea typeface="Calibri"/>
              <a:cs typeface="Calibri"/>
            </a:endParaRPr>
          </a:p>
          <a:p>
            <a:pPr marL="457200" lvl="3"/>
            <a:endParaRPr lang="en-GB" sz="1600">
              <a:latin typeface="Calibri"/>
              <a:ea typeface="Calibri"/>
              <a:cs typeface="Calibri"/>
            </a:endParaRPr>
          </a:p>
          <a:p>
            <a:pPr marL="285750" lvl="2" indent="-285750">
              <a:buFont typeface="Arial"/>
              <a:buChar char="•"/>
            </a:pPr>
            <a:r>
              <a:rPr lang="en-GB" sz="1600" dirty="0">
                <a:latin typeface="Calibri"/>
                <a:ea typeface="Calibri"/>
                <a:cs typeface="Calibri"/>
              </a:rPr>
              <a:t>Pain points in the above methods</a:t>
            </a:r>
            <a:r>
              <a:rPr lang="en-US" sz="1600" dirty="0">
                <a:latin typeface="Calibri"/>
                <a:ea typeface="Calibri"/>
                <a:cs typeface="Calibri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41573772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B09DAD-4522-F0AD-07C4-7438DD02D9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>
                <a:latin typeface="Calibri"/>
                <a:cs typeface="Arial"/>
              </a:rPr>
              <a:t>Stakeholder Identification and Roles</a:t>
            </a:r>
          </a:p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8D4893-1AA3-FCE5-B450-8543EA82B6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276" y="1185581"/>
            <a:ext cx="11353800" cy="4381499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>
                <a:latin typeface="Calibri"/>
                <a:cs typeface="Arial"/>
              </a:rPr>
              <a:t>Who are the key stakeholders involved: </a:t>
            </a:r>
            <a:endParaRPr lang="en-US">
              <a:latin typeface="Calibri"/>
            </a:endParaRPr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ea typeface="Verdana"/>
                <a:cs typeface="Arial"/>
              </a:rPr>
              <a:t>Scheduler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ea typeface="Verdana"/>
                <a:cs typeface="Arial"/>
              </a:rPr>
              <a:t>Event Details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ea typeface="Verdana"/>
                <a:cs typeface="Arial"/>
              </a:rPr>
              <a:t>BA or Staffing 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ea typeface="Verdana"/>
                <a:cs typeface="Arial"/>
              </a:rPr>
              <a:t>XP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ea typeface="Verdana"/>
                <a:cs typeface="Arial"/>
              </a:rPr>
              <a:t>PM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ea typeface="Verdana"/>
                <a:cs typeface="Arial"/>
              </a:rPr>
              <a:t>Analytics</a:t>
            </a:r>
            <a:endParaRPr lang="en-US">
              <a:latin typeface="Calibri"/>
              <a:ea typeface="Verdana"/>
            </a:endParaRPr>
          </a:p>
          <a:p>
            <a:pPr lvl="1">
              <a:buFont typeface="Courier New" panose="020B0604020202020204" pitchFamily="34" charset="0"/>
              <a:buChar char="o"/>
            </a:pPr>
            <a:endParaRPr lang="en-US">
              <a:ea typeface="Verdana"/>
            </a:endParaRP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4EB809-D4FA-BCFE-B958-8DB9C5D805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1687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83EEF0-6C58-D3CF-7002-26ED03033D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>
                <a:latin typeface="Calibri"/>
              </a:rPr>
              <a:t>Event Data and Recapp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1FCFB0-8DD9-49C6-B8C2-1E3C830F65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953" y="1185581"/>
            <a:ext cx="11353800" cy="4381499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buFont typeface="Courier New,monospace" panose="020B0604020202020204" pitchFamily="34" charset="0"/>
              <a:buChar char="o"/>
            </a:pPr>
            <a:r>
              <a:rPr lang="en-US">
                <a:latin typeface="Calibri"/>
                <a:ea typeface="Calibri Light"/>
                <a:cs typeface="Calibri"/>
              </a:rPr>
              <a:t>Where does the data currently come from, and are there any data entry challenges?</a:t>
            </a:r>
          </a:p>
          <a:p>
            <a:pPr>
              <a:buFont typeface="Courier New,monospace" panose="020B0604020202020204" pitchFamily="34" charset="0"/>
              <a:buChar char="o"/>
            </a:pPr>
            <a:r>
              <a:rPr lang="en-US">
                <a:latin typeface="Calibri"/>
                <a:ea typeface="Calibri Light"/>
                <a:cs typeface="Calibri"/>
              </a:rPr>
              <a:t>Are there specific data points or KPIs that are frequently overlooked but are important for reporting to client or internally?</a:t>
            </a:r>
          </a:p>
          <a:p>
            <a:pPr>
              <a:buFont typeface="Courier New,monospace" panose="020B0604020202020204" pitchFamily="34" charset="0"/>
              <a:buChar char="o"/>
            </a:pPr>
            <a:r>
              <a:rPr lang="en-US">
                <a:latin typeface="Calibri"/>
                <a:ea typeface="Calibri Light"/>
                <a:cs typeface="Calibri"/>
              </a:rPr>
              <a:t>What key KPIs or metrics do you regularly track for events for your clients? Which ones are for internal use and which ones are client requirements?</a:t>
            </a:r>
          </a:p>
          <a:p>
            <a:pPr lvl="1">
              <a:buFont typeface="Courier New,monospace" panose="020B0604020202020204" pitchFamily="34" charset="0"/>
              <a:buChar char="o"/>
            </a:pPr>
            <a:r>
              <a:rPr lang="en-US">
                <a:latin typeface="Calibri"/>
                <a:ea typeface="Calibri Light"/>
                <a:cs typeface="Calibri"/>
              </a:rPr>
              <a:t>Breakout depending on program type? </a:t>
            </a:r>
          </a:p>
          <a:p>
            <a:pPr>
              <a:buFont typeface="Courier New,monospace" panose="020B0604020202020204" pitchFamily="34" charset="0"/>
              <a:buChar char="o"/>
            </a:pPr>
            <a:r>
              <a:rPr lang="en-US">
                <a:latin typeface="Calibri"/>
                <a:ea typeface="Calibri Light"/>
                <a:cs typeface="Calibri"/>
              </a:rPr>
              <a:t>Are there any specific insights you would like to gain from the UXP?</a:t>
            </a:r>
          </a:p>
          <a:p>
            <a:pPr>
              <a:buFont typeface="Courier New,monospace" panose="020B0604020202020204" pitchFamily="34" charset="0"/>
              <a:buChar char="o"/>
            </a:pPr>
            <a:endParaRPr lang="en-US">
              <a:latin typeface="Calibri"/>
              <a:ea typeface="Calibri Light"/>
              <a:cs typeface="Calibri"/>
            </a:endParaRPr>
          </a:p>
          <a:p>
            <a:pPr lvl="1">
              <a:buFont typeface="Courier New,monospace" panose="020B0604020202020204" pitchFamily="34" charset="0"/>
              <a:buChar char="o"/>
            </a:pPr>
            <a:endParaRPr lang="en-US">
              <a:latin typeface="Calibri"/>
              <a:ea typeface="Calibri Light"/>
              <a:cs typeface="Calibri"/>
            </a:endParaRPr>
          </a:p>
          <a:p>
            <a:pPr lvl="1">
              <a:buFont typeface="Courier New,monospace" panose="020B0604020202020204" pitchFamily="34" charset="0"/>
              <a:buChar char="o"/>
            </a:pPr>
            <a:endParaRPr lang="en-US">
              <a:latin typeface="Calibri"/>
              <a:ea typeface="Calibri Light"/>
              <a:cs typeface="Calibri"/>
            </a:endParaRPr>
          </a:p>
          <a:p>
            <a:pPr lvl="1">
              <a:buFont typeface="Courier New,monospace" panose="020B0604020202020204" pitchFamily="34" charset="0"/>
              <a:buChar char="o"/>
            </a:pPr>
            <a:endParaRPr lang="en-US">
              <a:latin typeface="Calibri"/>
              <a:ea typeface="Calibri Light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C53A31-FD10-3D85-1707-8F0D613310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0136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748DA6-12CC-DB79-1255-837201FDA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>
                <a:latin typeface="Calibri"/>
              </a:rPr>
              <a:t>Integrations or additional systems used? 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0FE4CB-B41D-3348-7A87-A0C80F2D5B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236008"/>
            <a:ext cx="11353800" cy="4381499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>
                <a:latin typeface="Calibri"/>
                <a:ea typeface="Calibri"/>
                <a:cs typeface="Calibri"/>
              </a:rPr>
              <a:t>What are the existing tools and systems used in the client account the UXP should integrate with?</a:t>
            </a:r>
          </a:p>
          <a:p>
            <a:r>
              <a:rPr lang="en-US">
                <a:latin typeface="Calibri"/>
                <a:ea typeface="Calibri"/>
                <a:cs typeface="Calibri"/>
              </a:rPr>
              <a:t>Ie. a reporting platform, client system, QR platform, Qualtrics, </a:t>
            </a:r>
            <a:r>
              <a:rPr lang="en-US" err="1">
                <a:latin typeface="Calibri"/>
                <a:ea typeface="Calibri"/>
                <a:cs typeface="Calibri"/>
              </a:rPr>
              <a:t>etc</a:t>
            </a:r>
            <a:endParaRPr lang="en-US">
              <a:latin typeface="Calibri"/>
              <a:ea typeface="Calibri"/>
              <a:cs typeface="Calibri"/>
            </a:endParaRPr>
          </a:p>
          <a:p>
            <a:pPr marL="0" indent="0">
              <a:buNone/>
            </a:pPr>
            <a:endParaRPr lang="en-US">
              <a:latin typeface="Calibri"/>
              <a:ea typeface="Calibri"/>
              <a:cs typeface="Calibri"/>
            </a:endParaRPr>
          </a:p>
          <a:p>
            <a:endParaRPr lang="en-US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6ACF3D-F49E-09A9-FCAF-0119A1A23A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8283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omentum Template Palette">
      <a:dk1>
        <a:srgbClr val="000000"/>
      </a:dk1>
      <a:lt1>
        <a:srgbClr val="FFFFFF"/>
      </a:lt1>
      <a:dk2>
        <a:srgbClr val="D4D8DC"/>
      </a:dk2>
      <a:lt2>
        <a:srgbClr val="79858D"/>
      </a:lt2>
      <a:accent1>
        <a:srgbClr val="EB2A38"/>
      </a:accent1>
      <a:accent2>
        <a:srgbClr val="495682"/>
      </a:accent2>
      <a:accent3>
        <a:srgbClr val="39708C"/>
      </a:accent3>
      <a:accent4>
        <a:srgbClr val="416042"/>
      </a:accent4>
      <a:accent5>
        <a:srgbClr val="FFD209"/>
      </a:accent5>
      <a:accent6>
        <a:srgbClr val="F26319"/>
      </a:accent6>
      <a:hlink>
        <a:srgbClr val="EB2A38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801b4607-f500-4f6e-b784-fb54d22359e9" xsi:nil="true"/>
    <Notes xmlns="801b4607-f500-4f6e-b784-fb54d22359e9" xsi:nil="true"/>
    <SharedWithUsers xmlns="05212364-6e0c-40a5-9fff-da248140089a">
      <UserInfo>
        <DisplayName>Bustos, Luis (WW-MOM)</DisplayName>
        <AccountId>353</AccountId>
        <AccountType/>
      </UserInfo>
    </SharedWithUsers>
    <lcf76f155ced4ddcb4097134ff3c332f xmlns="801b4607-f500-4f6e-b784-fb54d22359e9">
      <Terms xmlns="http://schemas.microsoft.com/office/infopath/2007/PartnerControls"/>
    </lcf76f155ced4ddcb4097134ff3c332f>
    <TaxCatchAll xmlns="05212364-6e0c-40a5-9fff-da248140089a" xsi:nil="true"/>
    <AzureFiles xmlns="801b4607-f500-4f6e-b784-fb54d22359e9">
      <Url xsi:nil="true"/>
      <Description xsi:nil="true"/>
    </AzureFiles>
    <Tag xmlns="801b4607-f500-4f6e-b784-fb54d22359e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C01503E242B4242B818938EF38676E9" ma:contentTypeVersion="21" ma:contentTypeDescription="Create a new document." ma:contentTypeScope="" ma:versionID="3a4297306f45b7232432285f2e4fc0a3">
  <xsd:schema xmlns:xsd="http://www.w3.org/2001/XMLSchema" xmlns:xs="http://www.w3.org/2001/XMLSchema" xmlns:p="http://schemas.microsoft.com/office/2006/metadata/properties" xmlns:ns2="801b4607-f500-4f6e-b784-fb54d22359e9" xmlns:ns3="05212364-6e0c-40a5-9fff-da248140089a" targetNamespace="http://schemas.microsoft.com/office/2006/metadata/properties" ma:root="true" ma:fieldsID="85f62882915f962eb2adfc659e2f43e6" ns2:_="" ns3:_="">
    <xsd:import namespace="801b4607-f500-4f6e-b784-fb54d22359e9"/>
    <xsd:import namespace="05212364-6e0c-40a5-9fff-da248140089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Notes" minOccurs="0"/>
                <xsd:element ref="ns2:MediaServiceSearchProperties" minOccurs="0"/>
                <xsd:element ref="ns2:AzureFiles" minOccurs="0"/>
                <xsd:element ref="ns2:MediaServiceBillingMetadata" minOccurs="0"/>
                <xsd:element ref="ns2:Tag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1b4607-f500-4f6e-b784-fb54d22359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3a7d435f-bc0a-452e-b7b2-4cb57826a06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Notes" ma:index="24" nillable="true" ma:displayName="Notes" ma:format="Dropdown" ma:internalName="Notes">
      <xsd:simpleType>
        <xsd:restriction base="dms:Note">
          <xsd:maxLength value="255"/>
        </xsd:restriction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AzureFiles" ma:index="26" nillable="true" ma:displayName="Azure Files" ma:format="Hyperlink" ma:internalName="AzureFiles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  <xsd:element name="Tag" ma:index="28" nillable="true" ma:displayName="Tag" ma:description="Tag to flag the recipient user against" ma:format="Dropdown" ma:internalName="Tag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212364-6e0c-40a5-9fff-da248140089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3010033-8c98-4658-a188-4535091bf398}" ma:internalName="TaxCatchAll" ma:showField="CatchAllData" ma:web="05212364-6e0c-40a5-9fff-da248140089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9EDF59B-BB93-4D56-9E44-833F85D61B5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5EAFBDE-F994-4529-BDFC-9F1DB25CDA3C}">
  <ds:schemaRefs>
    <ds:schemaRef ds:uri="05212364-6e0c-40a5-9fff-da248140089a"/>
    <ds:schemaRef ds:uri="801b4607-f500-4f6e-b784-fb54d22359e9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CFAE160-C3F3-4A55-8093-D4758B2ACC41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11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2" baseType="lpstr">
      <vt:lpstr>Office Theme</vt:lpstr>
      <vt:lpstr>UNIFIED EXPERIENCE PLATFORM (UXP)</vt:lpstr>
      <vt:lpstr>TODAY</vt:lpstr>
      <vt:lpstr>UNIFIED EXPERIENCE DATA ECOSYSTEM </vt:lpstr>
      <vt:lpstr>PROCESS</vt:lpstr>
      <vt:lpstr>DATA DISCOVERY</vt:lpstr>
      <vt:lpstr>Current Workflow (BL OR XP)</vt:lpstr>
      <vt:lpstr>Stakeholder Identification and Roles </vt:lpstr>
      <vt:lpstr>Event Data and Recapping</vt:lpstr>
      <vt:lpstr>Integrations or additional systems used? </vt:lpstr>
      <vt:lpstr>Features and wish list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revision>24</cp:revision>
  <dcterms:created xsi:type="dcterms:W3CDTF">2024-02-05T21:40:15Z</dcterms:created>
  <dcterms:modified xsi:type="dcterms:W3CDTF">2024-03-13T14:0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mplianceAssetId">
    <vt:lpwstr/>
  </property>
  <property fmtid="{D5CDD505-2E9C-101B-9397-08002B2CF9AE}" pid="3" name="TriggerFlowInfo">
    <vt:lpwstr/>
  </property>
  <property fmtid="{D5CDD505-2E9C-101B-9397-08002B2CF9AE}" pid="4" name="_SharedFileIndex">
    <vt:lpwstr/>
  </property>
  <property fmtid="{D5CDD505-2E9C-101B-9397-08002B2CF9AE}" pid="5" name="_ExtendedDescription">
    <vt:lpwstr/>
  </property>
  <property fmtid="{D5CDD505-2E9C-101B-9397-08002B2CF9AE}" pid="6" name="MediaServiceImageTags">
    <vt:lpwstr/>
  </property>
  <property fmtid="{D5CDD505-2E9C-101B-9397-08002B2CF9AE}" pid="7" name="_SourceUrl">
    <vt:lpwstr/>
  </property>
  <property fmtid="{D5CDD505-2E9C-101B-9397-08002B2CF9AE}" pid="8" name="ContentTypeId">
    <vt:lpwstr>0x0101004C01503E242B4242B818938EF38676E9</vt:lpwstr>
  </property>
</Properties>
</file>